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3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4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38" r:id="rId1"/>
    <p:sldMasterId id="2147484283" r:id="rId2"/>
    <p:sldMasterId id="2147484343" r:id="rId3"/>
    <p:sldMasterId id="2147484398" r:id="rId4"/>
    <p:sldMasterId id="2147484426" r:id="rId5"/>
  </p:sldMasterIdLst>
  <p:notesMasterIdLst>
    <p:notesMasterId r:id="rId30"/>
  </p:notesMasterIdLst>
  <p:sldIdLst>
    <p:sldId id="649" r:id="rId6"/>
    <p:sldId id="663" r:id="rId7"/>
    <p:sldId id="586" r:id="rId8"/>
    <p:sldId id="588" r:id="rId9"/>
    <p:sldId id="646" r:id="rId10"/>
    <p:sldId id="593" r:id="rId11"/>
    <p:sldId id="591" r:id="rId12"/>
    <p:sldId id="595" r:id="rId13"/>
    <p:sldId id="650" r:id="rId14"/>
    <p:sldId id="651" r:id="rId15"/>
    <p:sldId id="652" r:id="rId16"/>
    <p:sldId id="640" r:id="rId17"/>
    <p:sldId id="644" r:id="rId18"/>
    <p:sldId id="599" r:id="rId19"/>
    <p:sldId id="653" r:id="rId20"/>
    <p:sldId id="661" r:id="rId21"/>
    <p:sldId id="662" r:id="rId22"/>
    <p:sldId id="656" r:id="rId23"/>
    <p:sldId id="657" r:id="rId24"/>
    <p:sldId id="658" r:id="rId25"/>
    <p:sldId id="536" r:id="rId26"/>
    <p:sldId id="558" r:id="rId27"/>
    <p:sldId id="630" r:id="rId28"/>
    <p:sldId id="639" r:id="rId29"/>
  </p:sldIdLst>
  <p:sldSz cx="12192000" cy="6858000"/>
  <p:notesSz cx="7315200" cy="96012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 " initials="" lastIdx="1" clrIdx="0"/>
  <p:cmAuthor id="2" name="Miller, David" initials="MD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E6E6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06" autoAdjust="0"/>
    <p:restoredTop sz="94434" autoAdjust="0"/>
  </p:normalViewPr>
  <p:slideViewPr>
    <p:cSldViewPr snapToGrid="0">
      <p:cViewPr varScale="1">
        <p:scale>
          <a:sx n="74" d="100"/>
          <a:sy n="74" d="100"/>
        </p:scale>
        <p:origin x="588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ata\Mc%20Coy\2016\Q3%202016\GT%20ORDER%20DATA%209M'16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Data\Mc%20Coy\2016\Q3%202016\GT%20ORDER%20DATA%209M'16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tx1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D69-4799-BB47-D7CA69E35A09}"/>
              </c:ext>
            </c:extLst>
          </c:dPt>
          <c:dPt>
            <c:idx val="1"/>
            <c:bubble3D val="0"/>
            <c:spPr>
              <a:solidFill>
                <a:srgbClr val="FF730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D69-4799-BB47-D7CA69E35A09}"/>
              </c:ext>
            </c:extLst>
          </c:dPt>
          <c:dLbls>
            <c:delete val="1"/>
          </c:dLbls>
          <c:cat>
            <c:strRef>
              <c:f>Sheet1!$A$2:$A$4</c:f>
              <c:strCache>
                <c:ptCount val="3"/>
                <c:pt idx="0">
                  <c:v>Ship Power</c:v>
                </c:pt>
                <c:pt idx="1">
                  <c:v>Power Plants</c:v>
                </c:pt>
                <c:pt idx="2">
                  <c:v>Service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6</c:v>
                </c:pt>
                <c:pt idx="1">
                  <c:v>24</c:v>
                </c:pt>
                <c:pt idx="2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7D69-4799-BB47-D7CA69E35A0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 b="1" dirty="0"/>
              <a:t>September 2015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3954A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288-4920-B2FB-A15BCBB9E244}"/>
              </c:ext>
            </c:extLst>
          </c:dPt>
          <c:dPt>
            <c:idx val="1"/>
            <c:bubble3D val="0"/>
            <c:spPr>
              <a:solidFill>
                <a:srgbClr val="009999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288-4920-B2FB-A15BCBB9E244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288-4920-B2FB-A15BCBB9E244}"/>
              </c:ext>
            </c:extLst>
          </c:dPt>
          <c:dPt>
            <c:idx val="3"/>
            <c:bubble3D val="0"/>
            <c:explosion val="17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288-4920-B2FB-A15BCBB9E244}"/>
              </c:ext>
            </c:extLst>
          </c:dPt>
          <c:dPt>
            <c:idx val="4"/>
            <c:bubble3D val="0"/>
            <c:spPr>
              <a:solidFill>
                <a:srgbClr val="D52D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288-4920-B2FB-A15BCBB9E244}"/>
              </c:ext>
            </c:extLst>
          </c:dPt>
          <c:dPt>
            <c:idx val="5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5288-4920-B2FB-A15BCBB9E244}"/>
              </c:ext>
            </c:extLst>
          </c:dPt>
          <c:dLbls>
            <c:dLbl>
              <c:idx val="0"/>
              <c:layout>
                <c:manualLayout>
                  <c:x val="-1.03026400515132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288-4920-B2FB-A15BCBB9E244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0302668599888978E-2"/>
                  <c:y val="-1.2034628997336001E-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5288-4920-B2FB-A15BCBB9E244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6.4391500321957507E-2"/>
                  <c:y val="-1.20618153791944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5288-4920-B2FB-A15BCBB9E24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&lt;500 CHART by competitor'!$K$3:$K$8</c:f>
              <c:strCache>
                <c:ptCount val="6"/>
                <c:pt idx="0">
                  <c:v>General Electric</c:v>
                </c:pt>
                <c:pt idx="1">
                  <c:v>Siemens</c:v>
                </c:pt>
                <c:pt idx="2">
                  <c:v>Mitsubishi </c:v>
                </c:pt>
                <c:pt idx="3">
                  <c:v>Wärtsilä</c:v>
                </c:pt>
                <c:pt idx="4">
                  <c:v>Ansaldo</c:v>
                </c:pt>
                <c:pt idx="5">
                  <c:v>Others</c:v>
                </c:pt>
              </c:strCache>
            </c:strRef>
          </c:cat>
          <c:val>
            <c:numRef>
              <c:f>'&lt;500 CHART by competitor'!$L$3:$L$8</c:f>
              <c:numCache>
                <c:formatCode>General</c:formatCode>
                <c:ptCount val="6"/>
                <c:pt idx="0">
                  <c:v>6596</c:v>
                </c:pt>
                <c:pt idx="1">
                  <c:v>4285</c:v>
                </c:pt>
                <c:pt idx="2">
                  <c:v>3362</c:v>
                </c:pt>
                <c:pt idx="3">
                  <c:v>1687</c:v>
                </c:pt>
                <c:pt idx="4">
                  <c:v>930</c:v>
                </c:pt>
                <c:pt idx="5">
                  <c:v>15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5288-4920-B2FB-A15BCBB9E2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 b="1" dirty="0"/>
              <a:t>September 2016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3954A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CD6-485A-9049-1E25F5C45735}"/>
              </c:ext>
            </c:extLst>
          </c:dPt>
          <c:dPt>
            <c:idx val="1"/>
            <c:bubble3D val="0"/>
            <c:spPr>
              <a:solidFill>
                <a:srgbClr val="009999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CD6-485A-9049-1E25F5C45735}"/>
              </c:ext>
            </c:extLst>
          </c:dPt>
          <c:dPt>
            <c:idx val="2"/>
            <c:bubble3D val="0"/>
            <c:explosion val="1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CD6-485A-9049-1E25F5C45735}"/>
              </c:ext>
            </c:extLst>
          </c:dPt>
          <c:dPt>
            <c:idx val="3"/>
            <c:bubble3D val="0"/>
            <c:spPr>
              <a:solidFill>
                <a:schemeClr val="bg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FCD6-485A-9049-1E25F5C45735}"/>
              </c:ext>
            </c:extLst>
          </c:dPt>
          <c:dPt>
            <c:idx val="4"/>
            <c:bubble3D val="0"/>
            <c:spPr>
              <a:solidFill>
                <a:srgbClr val="D52D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FCD6-485A-9049-1E25F5C45735}"/>
              </c:ext>
            </c:extLst>
          </c:dPt>
          <c:dPt>
            <c:idx val="5"/>
            <c:bubble3D val="0"/>
            <c:spPr>
              <a:solidFill>
                <a:schemeClr val="accent4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FCD6-485A-9049-1E25F5C4573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CD6-485A-9049-1E25F5C45735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1.7770622122709209E-4"/>
                  <c:y val="-1.477841574390696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FCD6-485A-9049-1E25F5C4573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&lt;500 CHART by competitor'!$G$3:$G$8</c:f>
              <c:strCache>
                <c:ptCount val="6"/>
                <c:pt idx="0">
                  <c:v>General Electric</c:v>
                </c:pt>
                <c:pt idx="1">
                  <c:v>Siemens</c:v>
                </c:pt>
                <c:pt idx="2">
                  <c:v>Wärtsilä</c:v>
                </c:pt>
                <c:pt idx="3">
                  <c:v>Mitsubishi </c:v>
                </c:pt>
                <c:pt idx="4">
                  <c:v>Ansaldo</c:v>
                </c:pt>
                <c:pt idx="5">
                  <c:v>Others</c:v>
                </c:pt>
              </c:strCache>
            </c:strRef>
          </c:cat>
          <c:val>
            <c:numRef>
              <c:f>'&lt;500 CHART by competitor'!$H$3:$H$8</c:f>
              <c:numCache>
                <c:formatCode>0</c:formatCode>
                <c:ptCount val="6"/>
                <c:pt idx="0">
                  <c:v>6122.2</c:v>
                </c:pt>
                <c:pt idx="1">
                  <c:v>4408.5999999999985</c:v>
                </c:pt>
                <c:pt idx="2">
                  <c:v>2555</c:v>
                </c:pt>
                <c:pt idx="3">
                  <c:v>2086.75</c:v>
                </c:pt>
                <c:pt idx="4">
                  <c:v>1252.5</c:v>
                </c:pt>
                <c:pt idx="5">
                  <c:v>969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FCD6-485A-9049-1E25F5C457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10E0875-1CD9-4037-9075-045197D88030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5913915-0F56-4461-B942-7211F77CF350}">
      <dgm:prSet phldrT="[Text]" custT="1"/>
      <dgm:spPr>
        <a:xfrm>
          <a:off x="2626990" y="1581161"/>
          <a:ext cx="1076679" cy="1097338"/>
        </a:xfrm>
        <a:solidFill>
          <a:srgbClr val="004A6B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800" b="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ite Controller</a:t>
          </a:r>
        </a:p>
      </dgm:t>
    </dgm:pt>
    <dgm:pt modelId="{5A145956-FFC5-437B-8E2B-62BD27DC4F9F}" type="parTrans" cxnId="{8DF54B12-6F12-4D77-A816-5C6F2B3207E7}">
      <dgm:prSet/>
      <dgm:spPr/>
      <dgm:t>
        <a:bodyPr/>
        <a:lstStyle/>
        <a:p>
          <a:endParaRPr lang="en-US" sz="2400"/>
        </a:p>
      </dgm:t>
    </dgm:pt>
    <dgm:pt modelId="{C20AC7BD-2F39-47B7-8D7B-E60211F3260B}" type="sibTrans" cxnId="{8DF54B12-6F12-4D77-A816-5C6F2B3207E7}">
      <dgm:prSet/>
      <dgm:spPr/>
      <dgm:t>
        <a:bodyPr/>
        <a:lstStyle/>
        <a:p>
          <a:endParaRPr lang="en-US" sz="2400"/>
        </a:p>
      </dgm:t>
    </dgm:pt>
    <dgm:pt modelId="{B2744030-6CCA-4EA0-8BEB-750005EF6D02}">
      <dgm:prSet phldrT="[Text]" custT="1"/>
      <dgm:spPr>
        <a:xfrm>
          <a:off x="2558629" y="-30908"/>
          <a:ext cx="1213400" cy="1204628"/>
        </a:xfrm>
        <a:solidFill>
          <a:srgbClr val="004A6B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800" b="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Fleet manager</a:t>
          </a:r>
        </a:p>
      </dgm:t>
    </dgm:pt>
    <dgm:pt modelId="{5252707E-E375-42BF-8838-C95C2DFE4AC6}" type="parTrans" cxnId="{3ABEA818-E274-49AB-BC81-3E8F4961C9CB}">
      <dgm:prSet/>
      <dgm:spPr/>
      <dgm:t>
        <a:bodyPr/>
        <a:lstStyle/>
        <a:p>
          <a:endParaRPr lang="en-US" sz="2400"/>
        </a:p>
      </dgm:t>
    </dgm:pt>
    <dgm:pt modelId="{3787E29F-1362-4623-9B1A-7496B3C8B921}" type="sibTrans" cxnId="{3ABEA818-E274-49AB-BC81-3E8F4961C9CB}">
      <dgm:prSet/>
      <dgm:spPr>
        <a:xfrm>
          <a:off x="1491906" y="532613"/>
          <a:ext cx="3346847" cy="3346847"/>
        </a:xfrm>
        <a:solidFill>
          <a:srgbClr val="004A6B"/>
        </a:solidFill>
        <a:ln>
          <a:noFill/>
        </a:ln>
        <a:effectLst/>
      </dgm:spPr>
      <dgm:t>
        <a:bodyPr/>
        <a:lstStyle/>
        <a:p>
          <a:endParaRPr lang="en-US" sz="2400"/>
        </a:p>
      </dgm:t>
    </dgm:pt>
    <dgm:pt modelId="{0C17E71F-6EE1-4C47-ADD6-7C03CBB02812}">
      <dgm:prSet phldrT="[Text]" custT="1"/>
      <dgm:spPr>
        <a:xfrm>
          <a:off x="3974262" y="2421038"/>
          <a:ext cx="1213400" cy="1204628"/>
        </a:xfrm>
        <a:solidFill>
          <a:srgbClr val="004A6B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600" b="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Analyzer</a:t>
          </a:r>
        </a:p>
      </dgm:t>
    </dgm:pt>
    <dgm:pt modelId="{B9B2A759-BC1A-4028-9532-7FABF706DBFE}" type="parTrans" cxnId="{AAEB14E4-5AB6-4D65-B166-1F493051BC4A}">
      <dgm:prSet/>
      <dgm:spPr/>
      <dgm:t>
        <a:bodyPr/>
        <a:lstStyle/>
        <a:p>
          <a:endParaRPr lang="en-US" sz="2400"/>
        </a:p>
      </dgm:t>
    </dgm:pt>
    <dgm:pt modelId="{66FBC812-8B0B-4022-AC55-0BE320EA54D2}" type="sibTrans" cxnId="{AAEB14E4-5AB6-4D65-B166-1F493051BC4A}">
      <dgm:prSet/>
      <dgm:spPr>
        <a:xfrm>
          <a:off x="1491906" y="532613"/>
          <a:ext cx="3346847" cy="3346847"/>
        </a:xfrm>
        <a:solidFill>
          <a:srgbClr val="004A6B"/>
        </a:solidFill>
        <a:ln>
          <a:noFill/>
        </a:ln>
        <a:effectLst/>
      </dgm:spPr>
      <dgm:t>
        <a:bodyPr/>
        <a:lstStyle/>
        <a:p>
          <a:endParaRPr lang="en-US" sz="2400"/>
        </a:p>
      </dgm:t>
    </dgm:pt>
    <dgm:pt modelId="{54C67C72-2E6F-4957-979F-0C3D42AF6B79}">
      <dgm:prSet phldrT="[Text]" custT="1"/>
      <dgm:spPr>
        <a:xfrm>
          <a:off x="1142997" y="2421038"/>
          <a:ext cx="1213400" cy="1204628"/>
        </a:xfrm>
        <a:solidFill>
          <a:srgbClr val="004A6B"/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600" b="0" dirty="0">
              <a:solidFill>
                <a:sysClr val="window" lastClr="FFFFFF"/>
              </a:solidFill>
              <a:latin typeface="Arial"/>
              <a:ea typeface="+mn-ea"/>
              <a:cs typeface="+mn-cs"/>
            </a:rPr>
            <a:t>Simulator</a:t>
          </a:r>
        </a:p>
      </dgm:t>
    </dgm:pt>
    <dgm:pt modelId="{0012632C-7789-4FDF-B233-2994CE7A3001}" type="parTrans" cxnId="{213B9585-85B4-42F4-9AC1-16EA68172A4A}">
      <dgm:prSet/>
      <dgm:spPr/>
      <dgm:t>
        <a:bodyPr/>
        <a:lstStyle/>
        <a:p>
          <a:endParaRPr lang="en-US" sz="2400"/>
        </a:p>
      </dgm:t>
    </dgm:pt>
    <dgm:pt modelId="{0140799A-EC38-4EA2-9C64-5E8D8FBDCD4F}" type="sibTrans" cxnId="{213B9585-85B4-42F4-9AC1-16EA68172A4A}">
      <dgm:prSet/>
      <dgm:spPr>
        <a:xfrm>
          <a:off x="1491906" y="532613"/>
          <a:ext cx="3346847" cy="3346847"/>
        </a:xfrm>
        <a:solidFill>
          <a:srgbClr val="004A6B"/>
        </a:solidFill>
        <a:ln>
          <a:noFill/>
        </a:ln>
        <a:effectLst/>
      </dgm:spPr>
      <dgm:t>
        <a:bodyPr/>
        <a:lstStyle/>
        <a:p>
          <a:endParaRPr lang="en-US" sz="2400"/>
        </a:p>
      </dgm:t>
    </dgm:pt>
    <dgm:pt modelId="{850C969D-0A25-483E-84F5-39CF98AD4EDE}" type="pres">
      <dgm:prSet presAssocID="{210E0875-1CD9-4037-9075-045197D88030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AFAC2B12-7AD2-481C-A6F8-F7B85FB95C07}" type="pres">
      <dgm:prSet presAssocID="{C5913915-0F56-4461-B942-7211F77CF350}" presName="centerShape" presStyleLbl="node0" presStyleIdx="0" presStyleCnt="1" custScaleX="91011" custScaleY="92758" custLinFactNeighborY="-2331"/>
      <dgm:spPr>
        <a:prstGeom prst="ellipse">
          <a:avLst/>
        </a:prstGeom>
      </dgm:spPr>
      <dgm:t>
        <a:bodyPr/>
        <a:lstStyle/>
        <a:p>
          <a:endParaRPr lang="en-GB"/>
        </a:p>
      </dgm:t>
    </dgm:pt>
    <dgm:pt modelId="{16C5C39A-C0EB-4C83-A579-38F1C0764170}" type="pres">
      <dgm:prSet presAssocID="{B2744030-6CCA-4EA0-8BEB-750005EF6D02}" presName="node" presStyleLbl="node1" presStyleIdx="0" presStyleCnt="3" custScaleX="112605" custScaleY="111791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GB"/>
        </a:p>
      </dgm:t>
    </dgm:pt>
    <dgm:pt modelId="{2E447A98-F473-4117-A5CC-2F7AE0F14F5D}" type="pres">
      <dgm:prSet presAssocID="{B2744030-6CCA-4EA0-8BEB-750005EF6D02}" presName="dummy" presStyleCnt="0"/>
      <dgm:spPr/>
    </dgm:pt>
    <dgm:pt modelId="{1E0A422B-CA1B-46F5-B2B8-5D0E06E82691}" type="pres">
      <dgm:prSet presAssocID="{3787E29F-1362-4623-9B1A-7496B3C8B921}" presName="sibTrans" presStyleLbl="sibTrans2D1" presStyleIdx="0" presStyleCnt="3"/>
      <dgm:spPr>
        <a:prstGeom prst="blockArc">
          <a:avLst>
            <a:gd name="adj1" fmla="val 16200000"/>
            <a:gd name="adj2" fmla="val 1800000"/>
            <a:gd name="adj3" fmla="val 4636"/>
          </a:avLst>
        </a:prstGeom>
      </dgm:spPr>
      <dgm:t>
        <a:bodyPr/>
        <a:lstStyle/>
        <a:p>
          <a:endParaRPr lang="en-GB"/>
        </a:p>
      </dgm:t>
    </dgm:pt>
    <dgm:pt modelId="{1B801926-7E36-48D4-8D59-7492AEE1C18C}" type="pres">
      <dgm:prSet presAssocID="{0C17E71F-6EE1-4C47-ADD6-7C03CBB02812}" presName="node" presStyleLbl="node1" presStyleIdx="1" presStyleCnt="3" custScaleX="112605" custScaleY="111791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GB"/>
        </a:p>
      </dgm:t>
    </dgm:pt>
    <dgm:pt modelId="{2507A4E1-EA32-442B-8A43-1B9C64B28EDB}" type="pres">
      <dgm:prSet presAssocID="{0C17E71F-6EE1-4C47-ADD6-7C03CBB02812}" presName="dummy" presStyleCnt="0"/>
      <dgm:spPr/>
    </dgm:pt>
    <dgm:pt modelId="{1CD469A7-9762-4B85-B5AF-50DAAB9811A1}" type="pres">
      <dgm:prSet presAssocID="{66FBC812-8B0B-4022-AC55-0BE320EA54D2}" presName="sibTrans" presStyleLbl="sibTrans2D1" presStyleIdx="1" presStyleCnt="3"/>
      <dgm:spPr>
        <a:prstGeom prst="blockArc">
          <a:avLst>
            <a:gd name="adj1" fmla="val 1800000"/>
            <a:gd name="adj2" fmla="val 9000000"/>
            <a:gd name="adj3" fmla="val 4636"/>
          </a:avLst>
        </a:prstGeom>
      </dgm:spPr>
      <dgm:t>
        <a:bodyPr/>
        <a:lstStyle/>
        <a:p>
          <a:endParaRPr lang="en-GB"/>
        </a:p>
      </dgm:t>
    </dgm:pt>
    <dgm:pt modelId="{D8F8A905-8A27-4B26-A944-9F488E6078D1}" type="pres">
      <dgm:prSet presAssocID="{54C67C72-2E6F-4957-979F-0C3D42AF6B79}" presName="node" presStyleLbl="node1" presStyleIdx="2" presStyleCnt="3" custScaleX="112605" custScaleY="111791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en-GB"/>
        </a:p>
      </dgm:t>
    </dgm:pt>
    <dgm:pt modelId="{B082B732-1BE1-4BFA-B57C-AF21AA4D137C}" type="pres">
      <dgm:prSet presAssocID="{54C67C72-2E6F-4957-979F-0C3D42AF6B79}" presName="dummy" presStyleCnt="0"/>
      <dgm:spPr/>
    </dgm:pt>
    <dgm:pt modelId="{BAB3DD7D-D823-403B-8116-D1FD2DC9EDD4}" type="pres">
      <dgm:prSet presAssocID="{0140799A-EC38-4EA2-9C64-5E8D8FBDCD4F}" presName="sibTrans" presStyleLbl="sibTrans2D1" presStyleIdx="2" presStyleCnt="3"/>
      <dgm:spPr>
        <a:prstGeom prst="blockArc">
          <a:avLst>
            <a:gd name="adj1" fmla="val 9000000"/>
            <a:gd name="adj2" fmla="val 16200000"/>
            <a:gd name="adj3" fmla="val 4636"/>
          </a:avLst>
        </a:prstGeom>
      </dgm:spPr>
      <dgm:t>
        <a:bodyPr/>
        <a:lstStyle/>
        <a:p>
          <a:endParaRPr lang="en-GB"/>
        </a:p>
      </dgm:t>
    </dgm:pt>
  </dgm:ptLst>
  <dgm:cxnLst>
    <dgm:cxn modelId="{805355AA-1FA0-4C01-B178-197D0EDB2AA2}" type="presOf" srcId="{C5913915-0F56-4461-B942-7211F77CF350}" destId="{AFAC2B12-7AD2-481C-A6F8-F7B85FB95C07}" srcOrd="0" destOrd="0" presId="urn:microsoft.com/office/officeart/2005/8/layout/radial6"/>
    <dgm:cxn modelId="{8363F32D-50F0-4976-AE99-B756BE65FA7B}" type="presOf" srcId="{B2744030-6CCA-4EA0-8BEB-750005EF6D02}" destId="{16C5C39A-C0EB-4C83-A579-38F1C0764170}" srcOrd="0" destOrd="0" presId="urn:microsoft.com/office/officeart/2005/8/layout/radial6"/>
    <dgm:cxn modelId="{E8A72298-EDCB-4314-B82F-5FFDCA0C8999}" type="presOf" srcId="{210E0875-1CD9-4037-9075-045197D88030}" destId="{850C969D-0A25-483E-84F5-39CF98AD4EDE}" srcOrd="0" destOrd="0" presId="urn:microsoft.com/office/officeart/2005/8/layout/radial6"/>
    <dgm:cxn modelId="{2EDC5753-23FC-4B8A-A2E8-B564D65C1D8F}" type="presOf" srcId="{66FBC812-8B0B-4022-AC55-0BE320EA54D2}" destId="{1CD469A7-9762-4B85-B5AF-50DAAB9811A1}" srcOrd="0" destOrd="0" presId="urn:microsoft.com/office/officeart/2005/8/layout/radial6"/>
    <dgm:cxn modelId="{21A2FC80-AA0D-4C38-B95C-68C04E01DA5B}" type="presOf" srcId="{3787E29F-1362-4623-9B1A-7496B3C8B921}" destId="{1E0A422B-CA1B-46F5-B2B8-5D0E06E82691}" srcOrd="0" destOrd="0" presId="urn:microsoft.com/office/officeart/2005/8/layout/radial6"/>
    <dgm:cxn modelId="{1628BCFB-F548-4D9F-8C66-AA146C04EA16}" type="presOf" srcId="{54C67C72-2E6F-4957-979F-0C3D42AF6B79}" destId="{D8F8A905-8A27-4B26-A944-9F488E6078D1}" srcOrd="0" destOrd="0" presId="urn:microsoft.com/office/officeart/2005/8/layout/radial6"/>
    <dgm:cxn modelId="{213B9585-85B4-42F4-9AC1-16EA68172A4A}" srcId="{C5913915-0F56-4461-B942-7211F77CF350}" destId="{54C67C72-2E6F-4957-979F-0C3D42AF6B79}" srcOrd="2" destOrd="0" parTransId="{0012632C-7789-4FDF-B233-2994CE7A3001}" sibTransId="{0140799A-EC38-4EA2-9C64-5E8D8FBDCD4F}"/>
    <dgm:cxn modelId="{3ABEA818-E274-49AB-BC81-3E8F4961C9CB}" srcId="{C5913915-0F56-4461-B942-7211F77CF350}" destId="{B2744030-6CCA-4EA0-8BEB-750005EF6D02}" srcOrd="0" destOrd="0" parTransId="{5252707E-E375-42BF-8838-C95C2DFE4AC6}" sibTransId="{3787E29F-1362-4623-9B1A-7496B3C8B921}"/>
    <dgm:cxn modelId="{8DF54B12-6F12-4D77-A816-5C6F2B3207E7}" srcId="{210E0875-1CD9-4037-9075-045197D88030}" destId="{C5913915-0F56-4461-B942-7211F77CF350}" srcOrd="0" destOrd="0" parTransId="{5A145956-FFC5-437B-8E2B-62BD27DC4F9F}" sibTransId="{C20AC7BD-2F39-47B7-8D7B-E60211F3260B}"/>
    <dgm:cxn modelId="{AAEB14E4-5AB6-4D65-B166-1F493051BC4A}" srcId="{C5913915-0F56-4461-B942-7211F77CF350}" destId="{0C17E71F-6EE1-4C47-ADD6-7C03CBB02812}" srcOrd="1" destOrd="0" parTransId="{B9B2A759-BC1A-4028-9532-7FABF706DBFE}" sibTransId="{66FBC812-8B0B-4022-AC55-0BE320EA54D2}"/>
    <dgm:cxn modelId="{0422A2E8-1729-4E30-AEF1-DC72AE22B404}" type="presOf" srcId="{0C17E71F-6EE1-4C47-ADD6-7C03CBB02812}" destId="{1B801926-7E36-48D4-8D59-7492AEE1C18C}" srcOrd="0" destOrd="0" presId="urn:microsoft.com/office/officeart/2005/8/layout/radial6"/>
    <dgm:cxn modelId="{ED76F7B2-240C-4DF6-A60B-22B374898D46}" type="presOf" srcId="{0140799A-EC38-4EA2-9C64-5E8D8FBDCD4F}" destId="{BAB3DD7D-D823-403B-8116-D1FD2DC9EDD4}" srcOrd="0" destOrd="0" presId="urn:microsoft.com/office/officeart/2005/8/layout/radial6"/>
    <dgm:cxn modelId="{04E259F3-CD1B-4B97-B0DF-FD668C61E5DC}" type="presParOf" srcId="{850C969D-0A25-483E-84F5-39CF98AD4EDE}" destId="{AFAC2B12-7AD2-481C-A6F8-F7B85FB95C07}" srcOrd="0" destOrd="0" presId="urn:microsoft.com/office/officeart/2005/8/layout/radial6"/>
    <dgm:cxn modelId="{DE3E16F0-B6DD-4C83-AF8E-426E05CB3214}" type="presParOf" srcId="{850C969D-0A25-483E-84F5-39CF98AD4EDE}" destId="{16C5C39A-C0EB-4C83-A579-38F1C0764170}" srcOrd="1" destOrd="0" presId="urn:microsoft.com/office/officeart/2005/8/layout/radial6"/>
    <dgm:cxn modelId="{C7427437-C566-4A60-B068-C1ED6061FDE8}" type="presParOf" srcId="{850C969D-0A25-483E-84F5-39CF98AD4EDE}" destId="{2E447A98-F473-4117-A5CC-2F7AE0F14F5D}" srcOrd="2" destOrd="0" presId="urn:microsoft.com/office/officeart/2005/8/layout/radial6"/>
    <dgm:cxn modelId="{D407EFBF-3868-4414-A46E-C6AE1CBD653E}" type="presParOf" srcId="{850C969D-0A25-483E-84F5-39CF98AD4EDE}" destId="{1E0A422B-CA1B-46F5-B2B8-5D0E06E82691}" srcOrd="3" destOrd="0" presId="urn:microsoft.com/office/officeart/2005/8/layout/radial6"/>
    <dgm:cxn modelId="{8582027B-25A9-41F4-ABDF-602CF952BBB4}" type="presParOf" srcId="{850C969D-0A25-483E-84F5-39CF98AD4EDE}" destId="{1B801926-7E36-48D4-8D59-7492AEE1C18C}" srcOrd="4" destOrd="0" presId="urn:microsoft.com/office/officeart/2005/8/layout/radial6"/>
    <dgm:cxn modelId="{CE7E4EA5-8E83-4E31-A638-A23D2B52AC51}" type="presParOf" srcId="{850C969D-0A25-483E-84F5-39CF98AD4EDE}" destId="{2507A4E1-EA32-442B-8A43-1B9C64B28EDB}" srcOrd="5" destOrd="0" presId="urn:microsoft.com/office/officeart/2005/8/layout/radial6"/>
    <dgm:cxn modelId="{4E4303A9-FBF7-47CC-AFD6-618F9CEB641E}" type="presParOf" srcId="{850C969D-0A25-483E-84F5-39CF98AD4EDE}" destId="{1CD469A7-9762-4B85-B5AF-50DAAB9811A1}" srcOrd="6" destOrd="0" presId="urn:microsoft.com/office/officeart/2005/8/layout/radial6"/>
    <dgm:cxn modelId="{B4ECEE38-BC7F-44FE-9A84-9A8F1FCC6797}" type="presParOf" srcId="{850C969D-0A25-483E-84F5-39CF98AD4EDE}" destId="{D8F8A905-8A27-4B26-A944-9F488E6078D1}" srcOrd="7" destOrd="0" presId="urn:microsoft.com/office/officeart/2005/8/layout/radial6"/>
    <dgm:cxn modelId="{BDDAB267-2B84-4319-ADB7-1B14D4E56011}" type="presParOf" srcId="{850C969D-0A25-483E-84F5-39CF98AD4EDE}" destId="{B082B732-1BE1-4BFA-B57C-AF21AA4D137C}" srcOrd="8" destOrd="0" presId="urn:microsoft.com/office/officeart/2005/8/layout/radial6"/>
    <dgm:cxn modelId="{68D14297-1833-4BBD-B842-39654D23CE12}" type="presParOf" srcId="{850C969D-0A25-483E-84F5-39CF98AD4EDE}" destId="{BAB3DD7D-D823-403B-8116-D1FD2DC9EDD4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453B6D73-7A3D-412B-853E-ADEA1427FD86}" type="datetimeFigureOut">
              <a:rPr lang="en-US" smtClean="0"/>
              <a:t>8/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3EC83687-32A1-4454-B86D-01E4D7C57AD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9469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896098-DE15-2643-9EEC-03433EF2F17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87553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896098-DE15-2643-9EEC-03433EF2F174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7587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896098-DE15-2643-9EEC-03433EF2F174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592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066306-975C-D846-841F-961A79C7840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1301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896098-DE15-2643-9EEC-03433EF2F17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61141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896098-DE15-2643-9EEC-03433EF2F17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6094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896098-DE15-2643-9EEC-03433EF2F17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2778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C83687-32A1-4454-B86D-01E4D7C57AD2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2068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896098-DE15-2643-9EEC-03433EF2F174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5155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896098-DE15-2643-9EEC-03433EF2F174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23613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jpe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4" Type="http://schemas.microsoft.com/office/2007/relationships/hdphoto" Target="../media/hdphoto1.wdp"/></Relationships>
</file>

<file path=ppt/slideLayouts/_rels/slideLayout12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jpe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.jpe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 bwMode="hidden">
          <a:xfrm>
            <a:off x="-22920" y="-37330"/>
            <a:ext cx="12230190" cy="6905889"/>
            <a:chOff x="-22920" y="-37330"/>
            <a:chExt cx="12230190" cy="6905889"/>
          </a:xfrm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hidden">
            <a:xfrm>
              <a:off x="-8900" y="1314450"/>
              <a:ext cx="12200937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  <a:gd name="connsiteX0" fmla="*/ 0 w 9965"/>
                <a:gd name="connsiteY0" fmla="*/ 10000 h 10000"/>
                <a:gd name="connsiteX1" fmla="*/ 1298 w 9965"/>
                <a:gd name="connsiteY1" fmla="*/ 10000 h 10000"/>
                <a:gd name="connsiteX2" fmla="*/ 1700 w 9965"/>
                <a:gd name="connsiteY2" fmla="*/ 0 h 10000"/>
                <a:gd name="connsiteX3" fmla="*/ 9965 w 9965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5" h="10000">
                  <a:moveTo>
                    <a:pt x="0" y="10000"/>
                  </a:moveTo>
                  <a:lnTo>
                    <a:pt x="1298" y="10000"/>
                  </a:lnTo>
                  <a:cubicBezTo>
                    <a:pt x="1433" y="6667"/>
                    <a:pt x="1566" y="3333"/>
                    <a:pt x="1700" y="0"/>
                  </a:cubicBezTo>
                  <a:lnTo>
                    <a:pt x="9965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8" name="Rectangle 27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9317" y="1325537"/>
            <a:ext cx="9288000" cy="2387600"/>
          </a:xfrm>
        </p:spPr>
        <p:txBody>
          <a:bodyPr anchor="b">
            <a:normAutofit/>
          </a:bodyPr>
          <a:lstStyle>
            <a:lvl1pPr algn="l">
              <a:defRPr sz="4200">
                <a:solidFill>
                  <a:srgbClr val="0F334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9200" y="3806758"/>
            <a:ext cx="9288000" cy="1569266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0F334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  <a:br>
              <a:rPr lang="en-US" dirty="0"/>
            </a:br>
            <a:r>
              <a:rPr lang="en-US" dirty="0"/>
              <a:t>First name Last name, Title</a:t>
            </a:r>
            <a:endParaRPr lang="fi-FI" dirty="0"/>
          </a:p>
        </p:txBody>
      </p:sp>
      <p:sp>
        <p:nvSpPr>
          <p:cNvPr id="17" name="Rectangle 13"/>
          <p:cNvSpPr/>
          <p:nvPr/>
        </p:nvSpPr>
        <p:spPr bwMode="white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ECF1441E-1C4D-4909-80C6-FDD3019D9580}" type="datetime1">
              <a:rPr lang="fi-FI" smtClean="0"/>
              <a:t>2.8.2018</a:t>
            </a:fld>
            <a:endParaRPr lang="en-US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[Presentation name / Author]</a:t>
            </a: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/>
              <a:t>‹#›</a:t>
            </a:fld>
            <a:endParaRPr lang="en-US"/>
          </a:p>
        </p:txBody>
      </p:sp>
      <p:sp>
        <p:nvSpPr>
          <p:cNvPr id="22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chemeClr val="accent4"/>
                </a:solidFill>
              </a:rPr>
              <a:t>© Wärtsilä</a:t>
            </a:r>
          </a:p>
        </p:txBody>
      </p:sp>
      <p:sp>
        <p:nvSpPr>
          <p:cNvPr id="24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700" b="0" i="0" u="none" strike="noStrike" cap="none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latin typeface="Arial" charset="0"/>
              </a:rPr>
              <a:t>Document ID </a:t>
            </a:r>
          </a:p>
        </p:txBody>
      </p:sp>
      <p:sp>
        <p:nvSpPr>
          <p:cNvPr id="25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i-FI" sz="700" b="0" i="0" u="none" strike="noStrike" cap="none" normalizeH="0" baseline="0" smtClean="0">
                <a:ln>
                  <a:noFill/>
                </a:ln>
                <a:solidFill>
                  <a:schemeClr val="accent4"/>
                </a:solidFill>
                <a:effectLst/>
                <a:latin typeface="Arial" charset="0"/>
              </a:rPr>
              <a:t> </a:t>
            </a:r>
            <a:endParaRPr kumimoji="0" lang="fi-FI" sz="700" b="0" i="0" u="none" strike="noStrike" cap="none" normalizeH="0" baseline="0" dirty="0">
              <a:ln>
                <a:noFill/>
              </a:ln>
              <a:solidFill>
                <a:schemeClr val="accent4"/>
              </a:solidFill>
              <a:effectLst/>
              <a:latin typeface="Arial" charset="0"/>
            </a:endParaRPr>
          </a:p>
        </p:txBody>
      </p:sp>
      <p:sp>
        <p:nvSpPr>
          <p:cNvPr id="26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700" b="0" i="0" u="none" strike="noStrike" cap="none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latin typeface="Arial" charset="0"/>
              </a:rPr>
              <a:t>Revision</a:t>
            </a:r>
          </a:p>
        </p:txBody>
      </p:sp>
      <p:sp>
        <p:nvSpPr>
          <p:cNvPr id="27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i-FI" sz="700" b="0" i="0" u="none" strike="noStrike" cap="none" normalizeH="0" baseline="0" smtClean="0">
                <a:ln>
                  <a:noFill/>
                </a:ln>
                <a:solidFill>
                  <a:schemeClr val="accent4"/>
                </a:solidFill>
                <a:effectLst/>
                <a:latin typeface="Arial" charset="0"/>
              </a:rPr>
              <a:t> </a:t>
            </a:r>
            <a:endParaRPr kumimoji="0" lang="fi-FI" sz="700" b="0" i="0" u="none" strike="noStrike" cap="none" normalizeH="0" baseline="0">
              <a:ln>
                <a:noFill/>
              </a:ln>
              <a:solidFill>
                <a:schemeClr val="accent4"/>
              </a:solidFill>
              <a:effectLst/>
              <a:latin typeface="Arial" charset="0"/>
            </a:endParaRPr>
          </a:p>
        </p:txBody>
      </p:sp>
      <p:sp>
        <p:nvSpPr>
          <p:cNvPr id="29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b="0" cap="all" spc="100" smtClean="0">
                <a:solidFill>
                  <a:schemeClr val="accent4"/>
                </a:solidFill>
              </a:rPr>
              <a:t>Public</a:t>
            </a:r>
            <a:endParaRPr lang="fi-FI" sz="900" b="0" cap="all" spc="100" dirty="0">
              <a:solidFill>
                <a:schemeClr val="accent4"/>
              </a:solidFill>
            </a:endParaRPr>
          </a:p>
        </p:txBody>
      </p:sp>
      <p:sp>
        <p:nvSpPr>
          <p:cNvPr id="30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baseline="0" dirty="0">
                <a:ln>
                  <a:noFill/>
                </a:ln>
                <a:solidFill>
                  <a:srgbClr val="FF0000"/>
                </a:solidFill>
                <a:effectLst/>
              </a:rPr>
              <a:t>SECRET</a:t>
            </a:r>
          </a:p>
        </p:txBody>
      </p:sp>
      <p:sp>
        <p:nvSpPr>
          <p:cNvPr id="31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CONFIDENTIAL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445BD80F-4663-1643-802C-3C94B36B87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2805" y="208317"/>
            <a:ext cx="1515969" cy="479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825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Background +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idx="13"/>
          </p:nvPr>
        </p:nvSpPr>
        <p:spPr>
          <a:xfrm>
            <a:off x="0" y="0"/>
            <a:ext cx="12208934" cy="685799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3758" y="-10756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rgbClr val="FF7321"/>
          </a:solidFill>
          <a:ln w="3175">
            <a:noFill/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2969" y="1245420"/>
            <a:ext cx="3480119" cy="96229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308564" y="78797"/>
            <a:ext cx="2600890" cy="69203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4984242" y="1198275"/>
            <a:ext cx="5838986" cy="36002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08891"/>
            <a:ext cx="674624" cy="690880"/>
          </a:xfrm>
          <a:prstGeom prst="rect">
            <a:avLst/>
          </a:prstGeom>
          <a:noFill/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srgbClr val="82898E"/>
                </a:solidFill>
              </a:rPr>
              <a:pPr/>
              <a:t>‹#›</a:t>
            </a:fld>
            <a:endParaRPr lang="en-US" dirty="0">
              <a:solidFill>
                <a:srgbClr val="8289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78147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3693A-7B55-4B80-B8BF-F7C236AC1056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11350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3693A-7B55-4B80-B8BF-F7C236AC1056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46257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4E684-F7CE-44CB-8193-A82CD1172028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5599" y="1789611"/>
            <a:ext cx="5185749" cy="4546389"/>
          </a:xfrm>
        </p:spPr>
        <p:txBody>
          <a:bodyPr/>
          <a:lstStyle>
            <a:lvl1pPr indent="-180000">
              <a:defRPr/>
            </a:lvl1pPr>
            <a:lvl2pPr marL="635000" indent="-231775">
              <a:tabLst/>
              <a:defRPr/>
            </a:lvl2pPr>
            <a:lvl3pPr marL="919163" indent="-168275">
              <a:tabLst/>
              <a:defRPr/>
            </a:lvl3pPr>
            <a:lvl4pPr marL="1204913" indent="-168275">
              <a:tabLst/>
              <a:defRPr/>
            </a:lvl4pPr>
            <a:lvl5pPr indent="-180000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13417" y="1789611"/>
            <a:ext cx="5126083" cy="4546389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82863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rgbClr val="004A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E6E6E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1DE254DF-50CC-44BF-8BD9-8660B3855AF5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2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3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4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46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">
    <p:bg>
      <p:bgPr>
        <a:solidFill>
          <a:srgbClr val="0F3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E6E6E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22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7018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E6E6E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9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0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180749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9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0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12360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4276592" y="0"/>
            <a:ext cx="7918704" cy="6858000"/>
          </a:xfrm>
          <a:custGeom>
            <a:avLst/>
            <a:gdLst>
              <a:gd name="connsiteX0" fmla="*/ 3964981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1025 h 6858000"/>
              <a:gd name="connsiteX5" fmla="*/ 191072 w 7918704"/>
              <a:gd name="connsiteY5" fmla="*/ 66104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4981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1025"/>
                </a:lnTo>
                <a:lnTo>
                  <a:pt x="191072" y="6610445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796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796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4850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485"/>
          <a:stretch/>
        </p:blipFill>
        <p:spPr>
          <a:xfrm>
            <a:off x="4467092" y="63586"/>
            <a:ext cx="7736908" cy="6548110"/>
          </a:xfrm>
          <a:prstGeom prst="rect">
            <a:avLst/>
          </a:prstGeom>
        </p:spPr>
      </p:pic>
      <p:sp>
        <p:nvSpPr>
          <p:cNvPr id="20" name="Parallelogram 19"/>
          <p:cNvSpPr/>
          <p:nvPr/>
        </p:nvSpPr>
        <p:spPr>
          <a:xfrm>
            <a:off x="0" y="25538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800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8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88266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4276588" y="0"/>
            <a:ext cx="7918704" cy="6858000"/>
          </a:xfrm>
          <a:custGeom>
            <a:avLst/>
            <a:gdLst>
              <a:gd name="connsiteX0" fmla="*/ 3964985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1025 h 6858000"/>
              <a:gd name="connsiteX5" fmla="*/ 191076 w 7918704"/>
              <a:gd name="connsiteY5" fmla="*/ 66104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4985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1025"/>
                </a:lnTo>
                <a:lnTo>
                  <a:pt x="191076" y="6610445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white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8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800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80011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-horizontal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-13758" y="-10756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rgbClr val="FF7321"/>
          </a:solidFill>
          <a:ln w="3175">
            <a:noFill/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idx="13"/>
          </p:nvPr>
        </p:nvSpPr>
        <p:spPr>
          <a:xfrm>
            <a:off x="-16934" y="5111197"/>
            <a:ext cx="12208934" cy="174680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2969" y="1245420"/>
            <a:ext cx="3480119" cy="962294"/>
          </a:xfrm>
        </p:spPr>
        <p:txBody>
          <a:bodyPr/>
          <a:lstStyle>
            <a:lvl1pPr>
              <a:defRPr>
                <a:solidFill>
                  <a:srgbClr val="0F334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73070"/>
            <a:ext cx="660733" cy="462513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308564" y="78797"/>
            <a:ext cx="2719643" cy="69203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17358"/>
            <a:ext cx="674624" cy="690880"/>
          </a:xfrm>
          <a:prstGeom prst="rect">
            <a:avLst/>
          </a:prstGeom>
          <a:noFill/>
        </p:spPr>
      </p:pic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4984242" y="1198275"/>
            <a:ext cx="5838986" cy="36002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766725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4276592" y="0"/>
            <a:ext cx="7918704" cy="6858000"/>
          </a:xfrm>
          <a:custGeom>
            <a:avLst/>
            <a:gdLst>
              <a:gd name="connsiteX0" fmla="*/ 3964981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1025 h 6858000"/>
              <a:gd name="connsiteX5" fmla="*/ 191072 w 7918704"/>
              <a:gd name="connsiteY5" fmla="*/ 66104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4981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1025"/>
                </a:lnTo>
                <a:lnTo>
                  <a:pt x="191072" y="6610445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8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800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7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8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94760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4276592" y="0"/>
            <a:ext cx="7918704" cy="6858000"/>
          </a:xfrm>
          <a:custGeom>
            <a:avLst/>
            <a:gdLst>
              <a:gd name="connsiteX0" fmla="*/ 3964981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1025 h 6858000"/>
              <a:gd name="connsiteX5" fmla="*/ 191072 w 7918704"/>
              <a:gd name="connsiteY5" fmla="*/ 66104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4981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1025"/>
                </a:lnTo>
                <a:lnTo>
                  <a:pt x="191072" y="6610445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908398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4453826" y="0"/>
            <a:ext cx="7738175" cy="6701654"/>
          </a:xfrm>
          <a:custGeom>
            <a:avLst/>
            <a:gdLst>
              <a:gd name="connsiteX0" fmla="*/ 3787748 w 7738175"/>
              <a:gd name="connsiteY0" fmla="*/ 0 h 6701654"/>
              <a:gd name="connsiteX1" fmla="*/ 7738175 w 7738175"/>
              <a:gd name="connsiteY1" fmla="*/ 0 h 6701654"/>
              <a:gd name="connsiteX2" fmla="*/ 7738175 w 7738175"/>
              <a:gd name="connsiteY2" fmla="*/ 6701654 h 6701654"/>
              <a:gd name="connsiteX3" fmla="*/ 0 w 7738175"/>
              <a:gd name="connsiteY3" fmla="*/ 6701654 h 6701654"/>
              <a:gd name="connsiteX4" fmla="*/ 0 w 7738175"/>
              <a:gd name="connsiteY4" fmla="*/ 6610487 h 6701654"/>
              <a:gd name="connsiteX5" fmla="*/ 13840 w 7738175"/>
              <a:gd name="connsiteY5" fmla="*/ 6610445 h 6701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38175" h="6701654">
                <a:moveTo>
                  <a:pt x="3787748" y="0"/>
                </a:moveTo>
                <a:lnTo>
                  <a:pt x="7738175" y="0"/>
                </a:lnTo>
                <a:lnTo>
                  <a:pt x="7738175" y="6701654"/>
                </a:lnTo>
                <a:lnTo>
                  <a:pt x="0" y="6701654"/>
                </a:lnTo>
                <a:lnTo>
                  <a:pt x="0" y="6610487"/>
                </a:lnTo>
                <a:lnTo>
                  <a:pt x="13840" y="6610445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6378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4276588" y="0"/>
            <a:ext cx="7918704" cy="6858000"/>
          </a:xfrm>
          <a:custGeom>
            <a:avLst/>
            <a:gdLst>
              <a:gd name="connsiteX0" fmla="*/ 3966798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4200 h 6858000"/>
              <a:gd name="connsiteX5" fmla="*/ 191076 w 7918704"/>
              <a:gd name="connsiteY5" fmla="*/ 661362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6798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4200"/>
                </a:lnTo>
                <a:lnTo>
                  <a:pt x="191076" y="6613620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93660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hidden">
          <a:xfrm>
            <a:off x="4276592" y="0"/>
            <a:ext cx="7918704" cy="6858000"/>
          </a:xfrm>
          <a:custGeom>
            <a:avLst/>
            <a:gdLst>
              <a:gd name="connsiteX0" fmla="*/ 3966794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4200 h 6858000"/>
              <a:gd name="connsiteX5" fmla="*/ 191072 w 7918704"/>
              <a:gd name="connsiteY5" fmla="*/ 661362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6794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4200"/>
                </a:lnTo>
                <a:lnTo>
                  <a:pt x="191072" y="6613620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7988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Chosen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/>
          <p:cNvSpPr>
            <a:spLocks noGrp="1"/>
          </p:cNvSpPr>
          <p:nvPr>
            <p:ph type="pic" sz="quarter" idx="14"/>
          </p:nvPr>
        </p:nvSpPr>
        <p:spPr bwMode="hidden">
          <a:xfrm>
            <a:off x="4479871" y="-10800"/>
            <a:ext cx="7719553" cy="6622496"/>
          </a:xfrm>
          <a:custGeom>
            <a:avLst/>
            <a:gdLst>
              <a:gd name="connsiteX0" fmla="*/ 3780788 w 7719553"/>
              <a:gd name="connsiteY0" fmla="*/ 0 h 6622496"/>
              <a:gd name="connsiteX1" fmla="*/ 7719553 w 7719553"/>
              <a:gd name="connsiteY1" fmla="*/ 0 h 6622496"/>
              <a:gd name="connsiteX2" fmla="*/ 7719553 w 7719553"/>
              <a:gd name="connsiteY2" fmla="*/ 6622496 h 6622496"/>
              <a:gd name="connsiteX3" fmla="*/ 0 w 7719553"/>
              <a:gd name="connsiteY3" fmla="*/ 6622496 h 6622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9553" h="6622496">
                <a:moveTo>
                  <a:pt x="3780788" y="0"/>
                </a:moveTo>
                <a:lnTo>
                  <a:pt x="7719553" y="0"/>
                </a:lnTo>
                <a:lnTo>
                  <a:pt x="7719553" y="6622496"/>
                </a:lnTo>
                <a:lnTo>
                  <a:pt x="0" y="662249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>
            <a:noAutofit/>
          </a:bodyPr>
          <a:lstStyle>
            <a:lvl1pPr marL="0" indent="0" algn="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2711259">
            <a:off x="-591911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2711259">
            <a:off x="-592590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50489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-3176" y="-9525"/>
            <a:ext cx="12195175" cy="6624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4" name="Secret" hidden="1"/>
          <p:cNvSpPr txBox="1"/>
          <p:nvPr/>
        </p:nvSpPr>
        <p:spPr>
          <a:xfrm>
            <a:off x="9246339" y="6604286"/>
            <a:ext cx="2952000" cy="25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5" name="Confidential" hidden="1"/>
          <p:cNvSpPr txBox="1"/>
          <p:nvPr/>
        </p:nvSpPr>
        <p:spPr>
          <a:xfrm>
            <a:off x="9245660" y="6603961"/>
            <a:ext cx="2952000" cy="25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01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layout with Head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-3176" y="-9525"/>
            <a:ext cx="12195175" cy="6624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22" name="Secret" hidden="1"/>
          <p:cNvSpPr txBox="1"/>
          <p:nvPr/>
        </p:nvSpPr>
        <p:spPr>
          <a:xfrm>
            <a:off x="9246339" y="6442058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>
            <a:off x="9245660" y="6441733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sp>
        <p:nvSpPr>
          <p:cNvPr id="24" name="Secret" hidden="1"/>
          <p:cNvSpPr txBox="1"/>
          <p:nvPr/>
        </p:nvSpPr>
        <p:spPr>
          <a:xfrm>
            <a:off x="9246339" y="6604286"/>
            <a:ext cx="2952000" cy="25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5" name="Confidential" hidden="1"/>
          <p:cNvSpPr txBox="1"/>
          <p:nvPr/>
        </p:nvSpPr>
        <p:spPr>
          <a:xfrm>
            <a:off x="9245660" y="6603961"/>
            <a:ext cx="2952000" cy="25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86558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82981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478289" y="3105401"/>
            <a:ext cx="5872167" cy="907041"/>
          </a:xfrm>
        </p:spPr>
        <p:txBody>
          <a:bodyPr>
            <a:normAutofit/>
          </a:bodyPr>
          <a:lstStyle>
            <a:lvl1pPr>
              <a:defRPr sz="3200" cap="all" baseline="0">
                <a:solidFill>
                  <a:srgbClr val="0F334A"/>
                </a:solidFill>
              </a:defRPr>
            </a:lvl1pPr>
          </a:lstStyle>
          <a:p>
            <a:r>
              <a:rPr lang="en-US" dirty="0"/>
              <a:t>ADD THANK YOU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478289" y="4370387"/>
            <a:ext cx="2460090" cy="11668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rgbClr val="80808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Add contact Information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382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gray + Form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3758" y="0"/>
            <a:ext cx="12208934" cy="6874933"/>
          </a:xfrm>
          <a:prstGeom prst="rect">
            <a:avLst/>
          </a:prstGeom>
          <a:solidFill>
            <a:srgbClr val="82898E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Freeform 5"/>
          <p:cNvSpPr/>
          <p:nvPr userDrawn="1"/>
        </p:nvSpPr>
        <p:spPr>
          <a:xfrm>
            <a:off x="-13758" y="-19900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rgbClr val="82898E"/>
          </a:solidFill>
          <a:ln w="3175">
            <a:noFill/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08891"/>
            <a:ext cx="674624" cy="69088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5819" y="1006253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/>
          </p:nvPr>
        </p:nvSpPr>
        <p:spPr>
          <a:xfrm>
            <a:off x="308564" y="66922"/>
            <a:ext cx="2482137" cy="69203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srgbClr val="82898E"/>
                </a:solidFill>
              </a:rPr>
              <a:pPr/>
              <a:t>‹#›</a:t>
            </a:fld>
            <a:endParaRPr lang="en-US" dirty="0">
              <a:solidFill>
                <a:srgbClr val="8289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86112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tarter/End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391998" y="1752036"/>
            <a:ext cx="3449919" cy="2106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62410" y="4280067"/>
            <a:ext cx="3909093" cy="944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53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tarter/End Slide 2">
    <p:bg>
      <p:bgPr>
        <a:solidFill>
          <a:srgbClr val="0F3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4392000" y="2160000"/>
            <a:ext cx="3449919" cy="21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42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995BA-5E9B-DF4A-B59C-837170558D6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605570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150380" y="2622673"/>
            <a:ext cx="9366504" cy="1621362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lorem ipsum dolor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7510862" y="6356350"/>
            <a:ext cx="908304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89907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819807" y="3666745"/>
            <a:ext cx="4429087" cy="612648"/>
          </a:xfrm>
        </p:spPr>
        <p:txBody>
          <a:bodyPr anchor="b">
            <a:noAutofit/>
          </a:bodyPr>
          <a:lstStyle>
            <a:lvl1pPr algn="l"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lorem ipsum dolo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65527" y="4604692"/>
            <a:ext cx="908304" cy="365125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57344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3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150380" y="2622673"/>
            <a:ext cx="9366504" cy="1621362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lorem ipsum dolor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7510862" y="6356350"/>
            <a:ext cx="908304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47800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-19900"/>
            <a:ext cx="12192000" cy="6885095"/>
          </a:xfrm>
          <a:prstGeom prst="rect">
            <a:avLst/>
          </a:prstGeom>
          <a:solidFill>
            <a:srgbClr val="0F33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3136392" y="2044500"/>
            <a:ext cx="7397709" cy="4354578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2200" b="0" i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/>
          </p:nvPr>
        </p:nvSpPr>
        <p:spPr>
          <a:xfrm>
            <a:off x="284814" y="89843"/>
            <a:ext cx="2684017" cy="69203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>
            <a:off x="-13758" y="-19900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noFill/>
          <a:ln w="3175">
            <a:solidFill>
              <a:schemeClr val="bg1">
                <a:alpha val="46000"/>
              </a:schemeClr>
            </a:solidFill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17358"/>
            <a:ext cx="674624" cy="690880"/>
          </a:xfrm>
          <a:prstGeom prst="rect">
            <a:avLst/>
          </a:prstGeom>
          <a:noFill/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62028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7195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3136392" y="2044500"/>
            <a:ext cx="7397709" cy="4354578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 sz="2200" b="0" i="0">
                <a:solidFill>
                  <a:srgbClr val="0F334A"/>
                </a:solidFill>
                <a:latin typeface="Helvetica Neue Light" charset="0"/>
                <a:ea typeface="Helvetica Neue Light" charset="0"/>
                <a:cs typeface="Helvetica Neue Light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en-US" dirty="0"/>
              <a:t>Click to edit Master text styles</a:t>
            </a:r>
          </a:p>
          <a:p>
            <a:pPr lvl="0"/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/>
          </p:nvPr>
        </p:nvSpPr>
        <p:spPr>
          <a:xfrm>
            <a:off x="284814" y="79287"/>
            <a:ext cx="2707768" cy="692030"/>
          </a:xfrm>
        </p:spPr>
        <p:txBody>
          <a:bodyPr>
            <a:normAutofit/>
          </a:bodyPr>
          <a:lstStyle>
            <a:lvl1pPr marL="0" indent="0" algn="l">
              <a:buNone/>
              <a:defRPr sz="1400" b="1">
                <a:solidFill>
                  <a:srgbClr val="82898E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reeform 6"/>
          <p:cNvSpPr/>
          <p:nvPr userDrawn="1"/>
        </p:nvSpPr>
        <p:spPr>
          <a:xfrm>
            <a:off x="-13758" y="-19900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noFill/>
          <a:ln w="3175">
            <a:solidFill>
              <a:srgbClr val="82898E">
                <a:alpha val="46000"/>
              </a:srgbClr>
            </a:solidFill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08891"/>
            <a:ext cx="674624" cy="690880"/>
          </a:xfrm>
          <a:prstGeom prst="rect">
            <a:avLst/>
          </a:prstGeom>
          <a:noFill/>
        </p:spPr>
      </p:pic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srgbClr val="82898E"/>
                </a:solidFill>
              </a:rPr>
              <a:pPr/>
              <a:t>‹#›</a:t>
            </a:fld>
            <a:endParaRPr lang="en-US" dirty="0">
              <a:solidFill>
                <a:srgbClr val="8289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22905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page-horizontal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 userDrawn="1"/>
        </p:nvSpPr>
        <p:spPr>
          <a:xfrm>
            <a:off x="-13758" y="-10756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rgbClr val="FF7321"/>
          </a:solidFill>
          <a:ln w="3175">
            <a:noFill/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idx="13"/>
          </p:nvPr>
        </p:nvSpPr>
        <p:spPr>
          <a:xfrm>
            <a:off x="-16934" y="5111197"/>
            <a:ext cx="12208934" cy="174680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2969" y="1245420"/>
            <a:ext cx="3480119" cy="962294"/>
          </a:xfrm>
        </p:spPr>
        <p:txBody>
          <a:bodyPr/>
          <a:lstStyle>
            <a:lvl1pPr>
              <a:defRPr>
                <a:solidFill>
                  <a:srgbClr val="0F334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73070"/>
            <a:ext cx="660733" cy="462513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308564" y="78797"/>
            <a:ext cx="2719643" cy="69203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17358"/>
            <a:ext cx="674624" cy="690880"/>
          </a:xfrm>
          <a:prstGeom prst="rect">
            <a:avLst/>
          </a:prstGeom>
          <a:noFill/>
        </p:spPr>
      </p:pic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4984242" y="1198275"/>
            <a:ext cx="5838986" cy="36002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69904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page-Vertical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/>
        </p:nvSpPr>
        <p:spPr>
          <a:xfrm>
            <a:off x="-13758" y="-19900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noFill/>
          <a:ln w="3175">
            <a:solidFill>
              <a:schemeClr val="bg1">
                <a:lumMod val="75000"/>
              </a:schemeClr>
            </a:solidFill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idx="13"/>
          </p:nvPr>
        </p:nvSpPr>
        <p:spPr>
          <a:xfrm>
            <a:off x="8855550" y="1"/>
            <a:ext cx="3336449" cy="685799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2969" y="1245420"/>
            <a:ext cx="3480119" cy="962294"/>
          </a:xfrm>
        </p:spPr>
        <p:txBody>
          <a:bodyPr/>
          <a:lstStyle>
            <a:lvl1pPr>
              <a:defRPr>
                <a:solidFill>
                  <a:srgbClr val="0F334A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308564" y="78797"/>
            <a:ext cx="2600890" cy="69203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82898E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17358"/>
            <a:ext cx="674624" cy="690880"/>
          </a:xfrm>
          <a:prstGeom prst="rect">
            <a:avLst/>
          </a:prstGeom>
          <a:noFill/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sp>
        <p:nvSpPr>
          <p:cNvPr id="17" name="Content Placeholder 3"/>
          <p:cNvSpPr>
            <a:spLocks noGrp="1"/>
          </p:cNvSpPr>
          <p:nvPr>
            <p:ph sz="quarter" idx="14"/>
          </p:nvPr>
        </p:nvSpPr>
        <p:spPr>
          <a:xfrm>
            <a:off x="652968" y="2788369"/>
            <a:ext cx="7755993" cy="37569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srgbClr val="82898E"/>
                </a:solidFill>
              </a:rPr>
              <a:pPr/>
              <a:t>‹#›</a:t>
            </a:fld>
            <a:endParaRPr lang="en-US" dirty="0">
              <a:solidFill>
                <a:srgbClr val="8289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638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tarter/End Slide 2">
    <p:bg>
      <p:bgPr>
        <a:solidFill>
          <a:srgbClr val="0F3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392000" y="2160000"/>
            <a:ext cx="3449919" cy="2106000"/>
          </a:xfrm>
          <a:prstGeom prst="rect">
            <a:avLst/>
          </a:prstGeom>
        </p:spPr>
      </p:pic>
      <p:sp>
        <p:nvSpPr>
          <p:cNvPr id="3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372323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page-Vertical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3759" y="-19900"/>
            <a:ext cx="12205757" cy="6877900"/>
          </a:xfrm>
          <a:prstGeom prst="rect">
            <a:avLst/>
          </a:prstGeom>
          <a:solidFill>
            <a:srgbClr val="0F334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reeform 9"/>
          <p:cNvSpPr/>
          <p:nvPr userDrawn="1"/>
        </p:nvSpPr>
        <p:spPr>
          <a:xfrm>
            <a:off x="-13758" y="-19900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11" name="Picture Placeholder 2"/>
          <p:cNvSpPr>
            <a:spLocks noGrp="1"/>
          </p:cNvSpPr>
          <p:nvPr>
            <p:ph type="pic" idx="13"/>
          </p:nvPr>
        </p:nvSpPr>
        <p:spPr>
          <a:xfrm>
            <a:off x="8855550" y="-19900"/>
            <a:ext cx="3336449" cy="687789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2969" y="1245420"/>
            <a:ext cx="3480119" cy="962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308564" y="66922"/>
            <a:ext cx="2565264" cy="692030"/>
          </a:xfrm>
          <a:noFill/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rgbClr val="0F334A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17358"/>
            <a:ext cx="674624" cy="690880"/>
          </a:xfrm>
          <a:prstGeom prst="rect">
            <a:avLst/>
          </a:prstGeom>
          <a:noFill/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sp>
        <p:nvSpPr>
          <p:cNvPr id="17" name="Content Placeholder 3"/>
          <p:cNvSpPr>
            <a:spLocks noGrp="1"/>
          </p:cNvSpPr>
          <p:nvPr>
            <p:ph sz="quarter" idx="14"/>
          </p:nvPr>
        </p:nvSpPr>
        <p:spPr>
          <a:xfrm>
            <a:off x="652968" y="2788369"/>
            <a:ext cx="7755993" cy="37569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8590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ay + Form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3758" y="0"/>
            <a:ext cx="12208934" cy="6874933"/>
          </a:xfrm>
          <a:prstGeom prst="rect">
            <a:avLst/>
          </a:prstGeom>
          <a:solidFill>
            <a:srgbClr val="82898E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reeform 5"/>
          <p:cNvSpPr/>
          <p:nvPr userDrawn="1"/>
        </p:nvSpPr>
        <p:spPr>
          <a:xfrm>
            <a:off x="-13758" y="-19900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rgbClr val="82898E"/>
          </a:solidFill>
          <a:ln w="3175">
            <a:noFill/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08891"/>
            <a:ext cx="674624" cy="69088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5819" y="1006253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/>
          </p:nvPr>
        </p:nvSpPr>
        <p:spPr>
          <a:xfrm>
            <a:off x="308564" y="66922"/>
            <a:ext cx="2482137" cy="69203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srgbClr val="82898E"/>
                </a:solidFill>
              </a:rPr>
              <a:pPr/>
              <a:t>‹#›</a:t>
            </a:fld>
            <a:endParaRPr lang="en-US" dirty="0">
              <a:solidFill>
                <a:srgbClr val="8289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25886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+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3758" y="0"/>
            <a:ext cx="12208934" cy="6874933"/>
          </a:xfrm>
          <a:prstGeom prst="rect">
            <a:avLst/>
          </a:prstGeom>
          <a:solidFill>
            <a:schemeClr val="tx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reeform 5"/>
          <p:cNvSpPr/>
          <p:nvPr userDrawn="1"/>
        </p:nvSpPr>
        <p:spPr>
          <a:xfrm>
            <a:off x="-13758" y="-19900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rgbClr val="82898E"/>
          </a:solidFill>
          <a:ln w="3175">
            <a:noFill/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08891"/>
            <a:ext cx="674624" cy="69088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5819" y="1006253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/>
          </p:nvPr>
        </p:nvSpPr>
        <p:spPr>
          <a:xfrm>
            <a:off x="308564" y="66922"/>
            <a:ext cx="2636516" cy="69203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srgbClr val="82898E"/>
                </a:solidFill>
              </a:rPr>
              <a:pPr/>
              <a:t>‹#›</a:t>
            </a:fld>
            <a:endParaRPr lang="en-US" dirty="0">
              <a:solidFill>
                <a:srgbClr val="8289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15484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idx="13"/>
          </p:nvPr>
        </p:nvSpPr>
        <p:spPr>
          <a:xfrm>
            <a:off x="-16934" y="1"/>
            <a:ext cx="12208934" cy="685799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1469567" y="1839691"/>
            <a:ext cx="9252865" cy="3387634"/>
          </a:xfrm>
          <a:prstGeom prst="rect">
            <a:avLst/>
          </a:prstGeom>
          <a:solidFill>
            <a:srgbClr val="0F334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08891"/>
            <a:ext cx="674624" cy="690880"/>
          </a:xfrm>
          <a:prstGeom prst="rect">
            <a:avLst/>
          </a:prstGeom>
          <a:noFill/>
        </p:spPr>
      </p:pic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2276061" y="2125809"/>
            <a:ext cx="7623314" cy="2815397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65977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Background +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idx="13"/>
          </p:nvPr>
        </p:nvSpPr>
        <p:spPr>
          <a:xfrm>
            <a:off x="-16934" y="1"/>
            <a:ext cx="12208934" cy="685799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Freeform 8"/>
          <p:cNvSpPr/>
          <p:nvPr userDrawn="1"/>
        </p:nvSpPr>
        <p:spPr>
          <a:xfrm>
            <a:off x="-13758" y="-10756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rgbClr val="FF7321"/>
          </a:solidFill>
          <a:ln w="3175">
            <a:noFill/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2969" y="1245420"/>
            <a:ext cx="3480119" cy="96229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308564" y="78797"/>
            <a:ext cx="2600890" cy="69203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4984242" y="1198275"/>
            <a:ext cx="5838986" cy="36002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08891"/>
            <a:ext cx="674624" cy="690880"/>
          </a:xfrm>
          <a:prstGeom prst="rect">
            <a:avLst/>
          </a:prstGeom>
          <a:noFill/>
        </p:spPr>
      </p:pic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srgbClr val="82898E"/>
                </a:solidFill>
              </a:rPr>
              <a:pPr/>
              <a:t>‹#›</a:t>
            </a:fld>
            <a:endParaRPr lang="en-US" dirty="0">
              <a:solidFill>
                <a:srgbClr val="8289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20415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9364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150380" y="2622673"/>
            <a:ext cx="9366504" cy="1621362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lorem ipsum dolor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7510862" y="6356350"/>
            <a:ext cx="908304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6433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04923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rgbClr val="004A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 bwMode="hidden">
          <a:xfrm>
            <a:off x="-22920" y="-37330"/>
            <a:ext cx="12230190" cy="6905889"/>
            <a:chOff x="-22920" y="-37330"/>
            <a:chExt cx="12230190" cy="6905889"/>
          </a:xfrm>
        </p:grpSpPr>
        <p:sp>
          <p:nvSpPr>
            <p:cNvPr id="36" name="Freeform 5"/>
            <p:cNvSpPr>
              <a:spLocks/>
            </p:cNvSpPr>
            <p:nvPr/>
          </p:nvSpPr>
          <p:spPr bwMode="hidden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37" name="Freeform 6"/>
            <p:cNvSpPr>
              <a:spLocks/>
            </p:cNvSpPr>
            <p:nvPr/>
          </p:nvSpPr>
          <p:spPr bwMode="hidden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hidden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39" name="Freeform 8"/>
            <p:cNvSpPr>
              <a:spLocks/>
            </p:cNvSpPr>
            <p:nvPr/>
          </p:nvSpPr>
          <p:spPr bwMode="hidden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hidden">
            <a:xfrm>
              <a:off x="-8900" y="1314450"/>
              <a:ext cx="12200937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  <a:gd name="connsiteX0" fmla="*/ 0 w 9965"/>
                <a:gd name="connsiteY0" fmla="*/ 10000 h 10000"/>
                <a:gd name="connsiteX1" fmla="*/ 1298 w 9965"/>
                <a:gd name="connsiteY1" fmla="*/ 10000 h 10000"/>
                <a:gd name="connsiteX2" fmla="*/ 1700 w 9965"/>
                <a:gd name="connsiteY2" fmla="*/ 0 h 10000"/>
                <a:gd name="connsiteX3" fmla="*/ 9965 w 9965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5" h="10000">
                  <a:moveTo>
                    <a:pt x="0" y="10000"/>
                  </a:moveTo>
                  <a:lnTo>
                    <a:pt x="1298" y="10000"/>
                  </a:lnTo>
                  <a:cubicBezTo>
                    <a:pt x="1433" y="6667"/>
                    <a:pt x="1566" y="3333"/>
                    <a:pt x="1700" y="0"/>
                  </a:cubicBezTo>
                  <a:lnTo>
                    <a:pt x="9965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34" name="Rectangle 33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9316" y="1325537"/>
            <a:ext cx="9274883" cy="2387600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9199" y="3806758"/>
            <a:ext cx="9274883" cy="1569266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E6E6E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  <a:br>
              <a:rPr lang="en-US"/>
            </a:br>
            <a:r>
              <a:rPr lang="en-US"/>
              <a:t>First name Last name, Title</a:t>
            </a:r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2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24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25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26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27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17" name="Rectangle 13"/>
          <p:cNvSpPr/>
          <p:nvPr/>
        </p:nvSpPr>
        <p:spPr bwMode="hidden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9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0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78902" y="226772"/>
            <a:ext cx="1528689" cy="36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29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 bwMode="hidden">
          <a:xfrm>
            <a:off x="-22920" y="-37330"/>
            <a:ext cx="12230190" cy="6905889"/>
            <a:chOff x="-22920" y="-37330"/>
            <a:chExt cx="12230190" cy="6905889"/>
          </a:xfrm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hidden">
            <a:xfrm>
              <a:off x="-8900" y="1314450"/>
              <a:ext cx="12200937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  <a:gd name="connsiteX0" fmla="*/ 0 w 9965"/>
                <a:gd name="connsiteY0" fmla="*/ 10000 h 10000"/>
                <a:gd name="connsiteX1" fmla="*/ 1298 w 9965"/>
                <a:gd name="connsiteY1" fmla="*/ 10000 h 10000"/>
                <a:gd name="connsiteX2" fmla="*/ 1700 w 9965"/>
                <a:gd name="connsiteY2" fmla="*/ 0 h 10000"/>
                <a:gd name="connsiteX3" fmla="*/ 9965 w 9965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5" h="10000">
                  <a:moveTo>
                    <a:pt x="0" y="10000"/>
                  </a:moveTo>
                  <a:lnTo>
                    <a:pt x="1298" y="10000"/>
                  </a:lnTo>
                  <a:cubicBezTo>
                    <a:pt x="1433" y="6667"/>
                    <a:pt x="1566" y="3333"/>
                    <a:pt x="1700" y="0"/>
                  </a:cubicBezTo>
                  <a:lnTo>
                    <a:pt x="9965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28" name="Rectangle 27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9317" y="1325537"/>
            <a:ext cx="9288000" cy="2387600"/>
          </a:xfrm>
        </p:spPr>
        <p:txBody>
          <a:bodyPr anchor="b">
            <a:normAutofit/>
          </a:bodyPr>
          <a:lstStyle>
            <a:lvl1pPr algn="l">
              <a:defRPr sz="4200">
                <a:solidFill>
                  <a:srgbClr val="0F334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9200" y="3806758"/>
            <a:ext cx="9288000" cy="1569266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0F334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  <a:br>
              <a:rPr lang="en-US" dirty="0"/>
            </a:br>
            <a:r>
              <a:rPr lang="en-US" dirty="0"/>
              <a:t>First name Last name, Title</a:t>
            </a:r>
            <a:endParaRPr lang="fi-FI" dirty="0"/>
          </a:p>
        </p:txBody>
      </p:sp>
      <p:sp>
        <p:nvSpPr>
          <p:cNvPr id="17" name="Rectangle 13"/>
          <p:cNvSpPr/>
          <p:nvPr/>
        </p:nvSpPr>
        <p:spPr bwMode="white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ECF1441E-1C4D-4909-80C6-FDD3019D95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2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24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25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26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27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9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30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1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78902" y="226772"/>
            <a:ext cx="1528689" cy="36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622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5599" y="1750422"/>
            <a:ext cx="10515985" cy="4851113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308987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with Headlin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5599" y="1750422"/>
            <a:ext cx="10515985" cy="4851113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874336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/>
              <a:t>2.8.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5599" y="1750422"/>
            <a:ext cx="10515985" cy="4851113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DA8D165A-D3BB-EC44-AFFA-98E8DE7EFA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2805" y="208317"/>
            <a:ext cx="1515969" cy="479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637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3693A-7B55-4B80-B8BF-F7C236AC1056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6100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3693A-7B55-4B80-B8BF-F7C236AC1056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673107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4E684-F7CE-44CB-8193-A82CD1172028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5599" y="1789611"/>
            <a:ext cx="5185749" cy="4546389"/>
          </a:xfrm>
        </p:spPr>
        <p:txBody>
          <a:bodyPr/>
          <a:lstStyle>
            <a:lvl1pPr indent="-180000">
              <a:defRPr/>
            </a:lvl1pPr>
            <a:lvl2pPr marL="635000" indent="-231775">
              <a:tabLst/>
              <a:defRPr/>
            </a:lvl2pPr>
            <a:lvl3pPr marL="919163" indent="-168275">
              <a:tabLst/>
              <a:defRPr/>
            </a:lvl3pPr>
            <a:lvl4pPr marL="1204913" indent="-168275">
              <a:tabLst/>
              <a:defRPr/>
            </a:lvl4pPr>
            <a:lvl5pPr indent="-180000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13417" y="1789611"/>
            <a:ext cx="5126083" cy="4546389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684986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rgbClr val="004A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E6E6E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1DE254DF-50CC-44BF-8BD9-8660B3855AF5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2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3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4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4613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">
    <p:bg>
      <p:bgPr>
        <a:solidFill>
          <a:srgbClr val="0F3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E6E6E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22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8465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E6E6E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9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0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6045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9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0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17266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4276592" y="0"/>
            <a:ext cx="7918704" cy="6858000"/>
          </a:xfrm>
          <a:custGeom>
            <a:avLst/>
            <a:gdLst>
              <a:gd name="connsiteX0" fmla="*/ 3964981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1025 h 6858000"/>
              <a:gd name="connsiteX5" fmla="*/ 191072 w 7918704"/>
              <a:gd name="connsiteY5" fmla="*/ 66104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4981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1025"/>
                </a:lnTo>
                <a:lnTo>
                  <a:pt x="191072" y="6610445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796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796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6433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4453826" y="0"/>
            <a:ext cx="7738175" cy="6701654"/>
          </a:xfrm>
          <a:custGeom>
            <a:avLst/>
            <a:gdLst>
              <a:gd name="connsiteX0" fmla="*/ 3787748 w 7738175"/>
              <a:gd name="connsiteY0" fmla="*/ 0 h 6701654"/>
              <a:gd name="connsiteX1" fmla="*/ 7738175 w 7738175"/>
              <a:gd name="connsiteY1" fmla="*/ 0 h 6701654"/>
              <a:gd name="connsiteX2" fmla="*/ 7738175 w 7738175"/>
              <a:gd name="connsiteY2" fmla="*/ 6701654 h 6701654"/>
              <a:gd name="connsiteX3" fmla="*/ 0 w 7738175"/>
              <a:gd name="connsiteY3" fmla="*/ 6701654 h 6701654"/>
              <a:gd name="connsiteX4" fmla="*/ 0 w 7738175"/>
              <a:gd name="connsiteY4" fmla="*/ 6610487 h 6701654"/>
              <a:gd name="connsiteX5" fmla="*/ 13840 w 7738175"/>
              <a:gd name="connsiteY5" fmla="*/ 6610445 h 6701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38175" h="6701654">
                <a:moveTo>
                  <a:pt x="3787748" y="0"/>
                </a:moveTo>
                <a:lnTo>
                  <a:pt x="7738175" y="0"/>
                </a:lnTo>
                <a:lnTo>
                  <a:pt x="7738175" y="6701654"/>
                </a:lnTo>
                <a:lnTo>
                  <a:pt x="0" y="6701654"/>
                </a:lnTo>
                <a:lnTo>
                  <a:pt x="0" y="6610487"/>
                </a:lnTo>
                <a:lnTo>
                  <a:pt x="13840" y="6610445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8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800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95586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4276588" y="0"/>
            <a:ext cx="7918704" cy="6858000"/>
          </a:xfrm>
          <a:custGeom>
            <a:avLst/>
            <a:gdLst>
              <a:gd name="connsiteX0" fmla="*/ 3964985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1025 h 6858000"/>
              <a:gd name="connsiteX5" fmla="*/ 191076 w 7918704"/>
              <a:gd name="connsiteY5" fmla="*/ 66104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4985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1025"/>
                </a:lnTo>
                <a:lnTo>
                  <a:pt x="191076" y="6610445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white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8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800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14374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with Headlin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/>
              <a:t>2.8.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5599" y="1750422"/>
            <a:ext cx="10515985" cy="4851113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xmlns="" id="{A582D1A3-C26F-1E40-9099-1A76BC71183C}"/>
              </a:ext>
            </a:extLst>
          </p:cNvPr>
          <p:cNvSpPr/>
          <p:nvPr userDrawn="1"/>
        </p:nvSpPr>
        <p:spPr bwMode="white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F63A14E6-520C-AC44-8450-5FCD863617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2805" y="208317"/>
            <a:ext cx="1515969" cy="479825"/>
          </a:xfrm>
          <a:prstGeom prst="rect">
            <a:avLst/>
          </a:prstGeom>
        </p:spPr>
      </p:pic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4276592" y="0"/>
            <a:ext cx="7918704" cy="6858000"/>
          </a:xfrm>
          <a:custGeom>
            <a:avLst/>
            <a:gdLst>
              <a:gd name="connsiteX0" fmla="*/ 3964981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1025 h 6858000"/>
              <a:gd name="connsiteX5" fmla="*/ 191072 w 7918704"/>
              <a:gd name="connsiteY5" fmla="*/ 66104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4981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1025"/>
                </a:lnTo>
                <a:lnTo>
                  <a:pt x="191072" y="6610445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8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800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7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8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63876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4276592" y="0"/>
            <a:ext cx="7918704" cy="6858000"/>
          </a:xfrm>
          <a:custGeom>
            <a:avLst/>
            <a:gdLst>
              <a:gd name="connsiteX0" fmla="*/ 3964981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1025 h 6858000"/>
              <a:gd name="connsiteX5" fmla="*/ 191072 w 7918704"/>
              <a:gd name="connsiteY5" fmla="*/ 661044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4981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1025"/>
                </a:lnTo>
                <a:lnTo>
                  <a:pt x="191072" y="6610445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367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4453826" y="0"/>
            <a:ext cx="7738175" cy="6701654"/>
          </a:xfrm>
          <a:custGeom>
            <a:avLst/>
            <a:gdLst>
              <a:gd name="connsiteX0" fmla="*/ 3787748 w 7738175"/>
              <a:gd name="connsiteY0" fmla="*/ 0 h 6701654"/>
              <a:gd name="connsiteX1" fmla="*/ 7738175 w 7738175"/>
              <a:gd name="connsiteY1" fmla="*/ 0 h 6701654"/>
              <a:gd name="connsiteX2" fmla="*/ 7738175 w 7738175"/>
              <a:gd name="connsiteY2" fmla="*/ 6701654 h 6701654"/>
              <a:gd name="connsiteX3" fmla="*/ 0 w 7738175"/>
              <a:gd name="connsiteY3" fmla="*/ 6701654 h 6701654"/>
              <a:gd name="connsiteX4" fmla="*/ 0 w 7738175"/>
              <a:gd name="connsiteY4" fmla="*/ 6610487 h 6701654"/>
              <a:gd name="connsiteX5" fmla="*/ 13840 w 7738175"/>
              <a:gd name="connsiteY5" fmla="*/ 6610445 h 6701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38175" h="6701654">
                <a:moveTo>
                  <a:pt x="3787748" y="0"/>
                </a:moveTo>
                <a:lnTo>
                  <a:pt x="7738175" y="0"/>
                </a:lnTo>
                <a:lnTo>
                  <a:pt x="7738175" y="6701654"/>
                </a:lnTo>
                <a:lnTo>
                  <a:pt x="0" y="6701654"/>
                </a:lnTo>
                <a:lnTo>
                  <a:pt x="0" y="6610487"/>
                </a:lnTo>
                <a:lnTo>
                  <a:pt x="13840" y="6610445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02009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4276588" y="0"/>
            <a:ext cx="7918704" cy="6858000"/>
          </a:xfrm>
          <a:custGeom>
            <a:avLst/>
            <a:gdLst>
              <a:gd name="connsiteX0" fmla="*/ 3966798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4200 h 6858000"/>
              <a:gd name="connsiteX5" fmla="*/ 191076 w 7918704"/>
              <a:gd name="connsiteY5" fmla="*/ 661362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6798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4200"/>
                </a:lnTo>
                <a:lnTo>
                  <a:pt x="191076" y="6613620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256901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4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hidden">
          <a:xfrm>
            <a:off x="4276592" y="0"/>
            <a:ext cx="7918704" cy="6858000"/>
          </a:xfrm>
          <a:custGeom>
            <a:avLst/>
            <a:gdLst>
              <a:gd name="connsiteX0" fmla="*/ 3966794 w 7918704"/>
              <a:gd name="connsiteY0" fmla="*/ 0 h 6858000"/>
              <a:gd name="connsiteX1" fmla="*/ 7918704 w 7918704"/>
              <a:gd name="connsiteY1" fmla="*/ 0 h 6858000"/>
              <a:gd name="connsiteX2" fmla="*/ 7918704 w 7918704"/>
              <a:gd name="connsiteY2" fmla="*/ 6858000 h 6858000"/>
              <a:gd name="connsiteX3" fmla="*/ 0 w 7918704"/>
              <a:gd name="connsiteY3" fmla="*/ 6858000 h 6858000"/>
              <a:gd name="connsiteX4" fmla="*/ 0 w 7918704"/>
              <a:gd name="connsiteY4" fmla="*/ 6614200 h 6858000"/>
              <a:gd name="connsiteX5" fmla="*/ 191072 w 7918704"/>
              <a:gd name="connsiteY5" fmla="*/ 661362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8704" h="6858000">
                <a:moveTo>
                  <a:pt x="3966794" y="0"/>
                </a:moveTo>
                <a:lnTo>
                  <a:pt x="7918704" y="0"/>
                </a:lnTo>
                <a:lnTo>
                  <a:pt x="7918704" y="6858000"/>
                </a:lnTo>
                <a:lnTo>
                  <a:pt x="0" y="6858000"/>
                </a:lnTo>
                <a:lnTo>
                  <a:pt x="0" y="6614200"/>
                </a:lnTo>
                <a:lnTo>
                  <a:pt x="191072" y="6613620"/>
                </a:lnTo>
                <a:close/>
              </a:path>
            </a:pathLst>
          </a:custGeom>
        </p:spPr>
      </p:pic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40498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Chosen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/>
          <p:cNvSpPr>
            <a:spLocks noGrp="1"/>
          </p:cNvSpPr>
          <p:nvPr>
            <p:ph type="pic" sz="quarter" idx="14"/>
          </p:nvPr>
        </p:nvSpPr>
        <p:spPr bwMode="hidden">
          <a:xfrm>
            <a:off x="4479871" y="-10800"/>
            <a:ext cx="7719553" cy="6622496"/>
          </a:xfrm>
          <a:custGeom>
            <a:avLst/>
            <a:gdLst>
              <a:gd name="connsiteX0" fmla="*/ 3780788 w 7719553"/>
              <a:gd name="connsiteY0" fmla="*/ 0 h 6622496"/>
              <a:gd name="connsiteX1" fmla="*/ 7719553 w 7719553"/>
              <a:gd name="connsiteY1" fmla="*/ 0 h 6622496"/>
              <a:gd name="connsiteX2" fmla="*/ 7719553 w 7719553"/>
              <a:gd name="connsiteY2" fmla="*/ 6622496 h 6622496"/>
              <a:gd name="connsiteX3" fmla="*/ 0 w 7719553"/>
              <a:gd name="connsiteY3" fmla="*/ 6622496 h 6622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719553" h="6622496">
                <a:moveTo>
                  <a:pt x="3780788" y="0"/>
                </a:moveTo>
                <a:lnTo>
                  <a:pt x="7719553" y="0"/>
                </a:lnTo>
                <a:lnTo>
                  <a:pt x="7719553" y="6622496"/>
                </a:lnTo>
                <a:lnTo>
                  <a:pt x="0" y="662249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wrap="square">
            <a:noAutofit/>
          </a:bodyPr>
          <a:lstStyle>
            <a:lvl1pPr marL="0" indent="0" algn="r">
              <a:buNone/>
              <a:defRPr/>
            </a:lvl1pPr>
          </a:lstStyle>
          <a:p>
            <a:r>
              <a:rPr lang="en-US"/>
              <a:t>Drag picture to placeholder or click icon to add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2711259">
            <a:off x="-591911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2711259">
            <a:off x="-592590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4959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-3176" y="-9525"/>
            <a:ext cx="12195175" cy="6624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4" name="Secret" hidden="1"/>
          <p:cNvSpPr txBox="1"/>
          <p:nvPr/>
        </p:nvSpPr>
        <p:spPr>
          <a:xfrm>
            <a:off x="9246339" y="6604286"/>
            <a:ext cx="2952000" cy="25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5" name="Confidential" hidden="1"/>
          <p:cNvSpPr txBox="1"/>
          <p:nvPr/>
        </p:nvSpPr>
        <p:spPr>
          <a:xfrm>
            <a:off x="9245660" y="6603961"/>
            <a:ext cx="2952000" cy="25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06430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layout with Headlin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-3176" y="-9525"/>
            <a:ext cx="12195175" cy="6624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22" name="Secret" hidden="1"/>
          <p:cNvSpPr txBox="1"/>
          <p:nvPr/>
        </p:nvSpPr>
        <p:spPr>
          <a:xfrm>
            <a:off x="9246339" y="6442058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>
            <a:off x="9245660" y="6441733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sp>
        <p:nvSpPr>
          <p:cNvPr id="24" name="Secret" hidden="1"/>
          <p:cNvSpPr txBox="1"/>
          <p:nvPr/>
        </p:nvSpPr>
        <p:spPr>
          <a:xfrm>
            <a:off x="9246339" y="6604286"/>
            <a:ext cx="2952000" cy="25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5" name="Confidential" hidden="1"/>
          <p:cNvSpPr txBox="1"/>
          <p:nvPr/>
        </p:nvSpPr>
        <p:spPr>
          <a:xfrm>
            <a:off x="9245660" y="6603961"/>
            <a:ext cx="2952000" cy="25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60726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5274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478289" y="3105401"/>
            <a:ext cx="5872167" cy="907041"/>
          </a:xfrm>
        </p:spPr>
        <p:txBody>
          <a:bodyPr>
            <a:normAutofit/>
          </a:bodyPr>
          <a:lstStyle>
            <a:lvl1pPr>
              <a:defRPr sz="3200" cap="all" baseline="0">
                <a:solidFill>
                  <a:srgbClr val="0F334A"/>
                </a:solidFill>
              </a:defRPr>
            </a:lvl1pPr>
          </a:lstStyle>
          <a:p>
            <a:r>
              <a:rPr lang="en-US" dirty="0"/>
              <a:t>ADD THANK YOU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478289" y="4370387"/>
            <a:ext cx="2460090" cy="11668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rgbClr val="80808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Add contact Information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770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3693A-7B55-4B80-B8BF-F7C236AC1056}" type="datetime1">
              <a:rPr lang="fi-FI" smtClean="0"/>
              <a:t>2.8.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xmlns="" id="{8864A5D0-E62F-464F-8AC8-0F1582EBCDC0}"/>
              </a:ext>
            </a:extLst>
          </p:cNvPr>
          <p:cNvSpPr/>
          <p:nvPr userDrawn="1"/>
        </p:nvSpPr>
        <p:spPr bwMode="white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5721A477-2FDC-AD4E-B3E1-4A8F3A49DE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2805" y="208317"/>
            <a:ext cx="1515969" cy="479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811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tarter/End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4391998" y="1752036"/>
            <a:ext cx="3449919" cy="2106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162410" y="4280067"/>
            <a:ext cx="3909093" cy="944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6805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tarter/End Slide 2">
    <p:bg>
      <p:bgPr>
        <a:solidFill>
          <a:srgbClr val="0F3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392000" y="2160000"/>
            <a:ext cx="3449919" cy="21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998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 with Headlin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5600" y="2124000"/>
            <a:ext cx="4930140" cy="4212000"/>
          </a:xfrm>
        </p:spPr>
        <p:txBody>
          <a:bodyPr/>
          <a:lstStyle>
            <a:lvl1pPr indent="-180000">
              <a:defRPr/>
            </a:lvl1pPr>
            <a:lvl2pPr indent="-180000">
              <a:defRPr/>
            </a:lvl2pPr>
            <a:lvl3pPr indent="-180000">
              <a:defRPr/>
            </a:lvl3pPr>
            <a:lvl4pPr indent="-180000">
              <a:defRPr/>
            </a:lvl4pPr>
            <a:lvl5pPr indent="-180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9360" y="2124000"/>
            <a:ext cx="4930140" cy="421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>
                <a:solidFill>
                  <a:srgbClr val="808080"/>
                </a:solidFill>
              </a:rPr>
              <a:t>[</a:t>
            </a:r>
            <a:r>
              <a:rPr lang="sv-SE" dirty="0">
                <a:solidFill>
                  <a:srgbClr val="808080"/>
                </a:solidFill>
              </a:rPr>
              <a:t>Wärtsilä Energy Solutions / Hans-Alexander Öst </a:t>
            </a:r>
            <a:r>
              <a:rPr lang="en-US" dirty="0">
                <a:solidFill>
                  <a:srgbClr val="808080"/>
                </a:solidFill>
              </a:rPr>
              <a:t>]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41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gray + Form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-13758" y="0"/>
            <a:ext cx="12208934" cy="6874933"/>
          </a:xfrm>
          <a:prstGeom prst="rect">
            <a:avLst/>
          </a:prstGeom>
          <a:solidFill>
            <a:srgbClr val="82898E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Freeform 5"/>
          <p:cNvSpPr/>
          <p:nvPr userDrawn="1"/>
        </p:nvSpPr>
        <p:spPr>
          <a:xfrm>
            <a:off x="-13758" y="-19900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rgbClr val="82898E"/>
          </a:solidFill>
          <a:ln w="3175">
            <a:noFill/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08891"/>
            <a:ext cx="674624" cy="69088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5819" y="1006253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/>
          </p:nvPr>
        </p:nvSpPr>
        <p:spPr>
          <a:xfrm>
            <a:off x="308564" y="66922"/>
            <a:ext cx="2482137" cy="69203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255222" y="6389368"/>
            <a:ext cx="58297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bg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132E56D-1C1A-C945-8CD9-D0E5389C3164}" type="slidenum">
              <a:rPr lang="en-US" smtClean="0">
                <a:solidFill>
                  <a:srgbClr val="82898E"/>
                </a:solidFill>
              </a:rPr>
              <a:pPr/>
              <a:t>‹#›</a:t>
            </a:fld>
            <a:endParaRPr lang="en-US" dirty="0">
              <a:solidFill>
                <a:srgbClr val="8289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2253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 bwMode="hidden">
          <a:xfrm>
            <a:off x="-22920" y="-37330"/>
            <a:ext cx="12230190" cy="6905889"/>
            <a:chOff x="-22920" y="-37330"/>
            <a:chExt cx="12230190" cy="6905889"/>
          </a:xfrm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hidden">
            <a:xfrm>
              <a:off x="-8900" y="1314450"/>
              <a:ext cx="12200937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  <a:gd name="connsiteX0" fmla="*/ 0 w 9965"/>
                <a:gd name="connsiteY0" fmla="*/ 10000 h 10000"/>
                <a:gd name="connsiteX1" fmla="*/ 1298 w 9965"/>
                <a:gd name="connsiteY1" fmla="*/ 10000 h 10000"/>
                <a:gd name="connsiteX2" fmla="*/ 1700 w 9965"/>
                <a:gd name="connsiteY2" fmla="*/ 0 h 10000"/>
                <a:gd name="connsiteX3" fmla="*/ 9965 w 9965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5" h="10000">
                  <a:moveTo>
                    <a:pt x="0" y="10000"/>
                  </a:moveTo>
                  <a:lnTo>
                    <a:pt x="1298" y="10000"/>
                  </a:lnTo>
                  <a:cubicBezTo>
                    <a:pt x="1433" y="6667"/>
                    <a:pt x="1566" y="3333"/>
                    <a:pt x="1700" y="0"/>
                  </a:cubicBezTo>
                  <a:lnTo>
                    <a:pt x="9965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28" name="Rectangle 27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9317" y="1325537"/>
            <a:ext cx="9288000" cy="2387600"/>
          </a:xfrm>
        </p:spPr>
        <p:txBody>
          <a:bodyPr anchor="b">
            <a:normAutofit/>
          </a:bodyPr>
          <a:lstStyle>
            <a:lvl1pPr algn="l">
              <a:defRPr sz="4200">
                <a:solidFill>
                  <a:srgbClr val="0F334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69200" y="3806758"/>
            <a:ext cx="9288000" cy="1569266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0F334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17" name="Rectangle 13"/>
          <p:cNvSpPr/>
          <p:nvPr/>
        </p:nvSpPr>
        <p:spPr bwMode="white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AE9AE842-2883-40D5-A2EB-6D4F4374C591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  <a:endParaRPr lang="en-US" dirty="0"/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24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25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26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27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29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30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1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954561" y="123666"/>
            <a:ext cx="973054" cy="5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90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B621-DF5A-4293-87E6-15A5C570CE5E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83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rgbClr val="004A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 bwMode="hidden">
          <a:xfrm>
            <a:off x="-22920" y="-37330"/>
            <a:ext cx="12230190" cy="6905889"/>
            <a:chOff x="-22920" y="-37330"/>
            <a:chExt cx="12230190" cy="6905889"/>
          </a:xfrm>
        </p:grpSpPr>
        <p:sp>
          <p:nvSpPr>
            <p:cNvPr id="36" name="Freeform 5"/>
            <p:cNvSpPr>
              <a:spLocks/>
            </p:cNvSpPr>
            <p:nvPr/>
          </p:nvSpPr>
          <p:spPr bwMode="hidden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37" name="Freeform 6"/>
            <p:cNvSpPr>
              <a:spLocks/>
            </p:cNvSpPr>
            <p:nvPr/>
          </p:nvSpPr>
          <p:spPr bwMode="hidden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hidden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39" name="Freeform 8"/>
            <p:cNvSpPr>
              <a:spLocks/>
            </p:cNvSpPr>
            <p:nvPr/>
          </p:nvSpPr>
          <p:spPr bwMode="hidden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hidden">
            <a:xfrm>
              <a:off x="-8900" y="1314450"/>
              <a:ext cx="12200937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  <a:gd name="connsiteX0" fmla="*/ 0 w 9965"/>
                <a:gd name="connsiteY0" fmla="*/ 10000 h 10000"/>
                <a:gd name="connsiteX1" fmla="*/ 1298 w 9965"/>
                <a:gd name="connsiteY1" fmla="*/ 10000 h 10000"/>
                <a:gd name="connsiteX2" fmla="*/ 1700 w 9965"/>
                <a:gd name="connsiteY2" fmla="*/ 0 h 10000"/>
                <a:gd name="connsiteX3" fmla="*/ 9965 w 9965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5" h="10000">
                  <a:moveTo>
                    <a:pt x="0" y="10000"/>
                  </a:moveTo>
                  <a:lnTo>
                    <a:pt x="1298" y="10000"/>
                  </a:lnTo>
                  <a:cubicBezTo>
                    <a:pt x="1433" y="6667"/>
                    <a:pt x="1566" y="3333"/>
                    <a:pt x="1700" y="0"/>
                  </a:cubicBezTo>
                  <a:lnTo>
                    <a:pt x="9965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34" name="Rectangle 33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9316" y="1325537"/>
            <a:ext cx="9274883" cy="2387600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69199" y="3806758"/>
            <a:ext cx="9274883" cy="1569266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E6E6E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i-FI" dirty="0"/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B1AC14BA-BC07-451B-97C9-6BC164ABC05C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  <a:endParaRPr lang="en-US" dirty="0"/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24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25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26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27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17" name="Rectangle 13"/>
          <p:cNvSpPr/>
          <p:nvPr/>
        </p:nvSpPr>
        <p:spPr bwMode="hidden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9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0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pic>
        <p:nvPicPr>
          <p:cNvPr id="31" name="Picture 3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954561" y="123666"/>
            <a:ext cx="973054" cy="5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72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5600" y="2124000"/>
            <a:ext cx="4930140" cy="4212000"/>
          </a:xfrm>
        </p:spPr>
        <p:txBody>
          <a:bodyPr/>
          <a:lstStyle>
            <a:lvl1pPr indent="-180000">
              <a:defRPr/>
            </a:lvl1pPr>
            <a:lvl2pPr indent="-180000">
              <a:defRPr/>
            </a:lvl2pPr>
            <a:lvl3pPr indent="-180000">
              <a:defRPr/>
            </a:lvl3pPr>
            <a:lvl4pPr indent="-180000">
              <a:defRPr/>
            </a:lvl4pPr>
            <a:lvl5pPr indent="-180000">
              <a:defRPr/>
            </a:lvl5pPr>
          </a:lstStyle>
          <a:p>
            <a:pPr lvl="0"/>
            <a:r>
              <a:rPr lang="en-US"/>
              <a:t>Click to edit Master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9360" y="2124000"/>
            <a:ext cx="4930140" cy="421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821A6-83AC-408E-B116-CCA9FE423649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48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05600" y="990000"/>
            <a:ext cx="4932000" cy="61588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5600" y="1619188"/>
            <a:ext cx="4932000" cy="4826000"/>
          </a:xfrm>
        </p:spPr>
        <p:txBody>
          <a:bodyPr/>
          <a:lstStyle>
            <a:lvl1pPr indent="-180000">
              <a:defRPr/>
            </a:lvl1pPr>
            <a:lvl2pPr indent="-180000">
              <a:defRPr/>
            </a:lvl2pPr>
            <a:lvl3pPr indent="-180000">
              <a:defRPr/>
            </a:lvl3pPr>
            <a:lvl4pPr indent="-180000">
              <a:defRPr/>
            </a:lvl4pPr>
            <a:lvl5pPr indent="-180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96024" y="990600"/>
            <a:ext cx="4932000" cy="615600"/>
          </a:xfrm>
        </p:spPr>
        <p:txBody>
          <a:bodyPr>
            <a:normAutofit/>
          </a:bodyPr>
          <a:lstStyle>
            <a:lvl1pPr marL="0" indent="0">
              <a:buNone/>
              <a:defRPr lang="en-US" sz="2400" b="1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6660" y="1619187"/>
            <a:ext cx="4932000" cy="482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5E5937-A1D1-4D42-8354-819B059FC5E8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66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rgbClr val="004A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E6E6E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3243522A-0C81-4FBF-B99C-B624212ED4D5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22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3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4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9849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3693A-7B55-4B80-B8BF-F7C236AC1056}" type="datetime1">
              <a:rPr lang="fi-FI" smtClean="0"/>
              <a:t>2.8.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xmlns="" id="{06BF2AC6-823E-5B4F-A9CA-7BE5F95F846C}"/>
              </a:ext>
            </a:extLst>
          </p:cNvPr>
          <p:cNvSpPr/>
          <p:nvPr userDrawn="1"/>
        </p:nvSpPr>
        <p:spPr bwMode="white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35AE181F-5285-DF49-BEC5-15CE05FB6BD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2805" y="208317"/>
            <a:ext cx="1515969" cy="479825"/>
          </a:xfrm>
          <a:prstGeom prst="rect">
            <a:avLst/>
          </a:prstGeom>
        </p:spPr>
      </p:pic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">
    <p:bg>
      <p:bgPr>
        <a:solidFill>
          <a:srgbClr val="0F3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E6E6E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1E13058A-29E4-4EDF-B831-E051B5E677F0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22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94520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E6E6E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FD7ABDC1-DA9B-4458-947E-302849A50C2E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2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9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0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95188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23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27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4D4D4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E50A2A88-AD11-409E-AC82-589C391B736E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2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9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0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1623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4276592" y="0"/>
            <a:ext cx="7918704" cy="6858000"/>
          </a:xfrm>
          <a:prstGeom prst="rect">
            <a:avLst/>
          </a:prstGeom>
        </p:spPr>
      </p:pic>
      <p:sp>
        <p:nvSpPr>
          <p:cNvPr id="24" name="Parallelogram 19"/>
          <p:cNvSpPr/>
          <p:nvPr/>
        </p:nvSpPr>
        <p:spPr bwMode="white">
          <a:xfrm>
            <a:off x="0" y="-36000"/>
            <a:ext cx="8262125" cy="6660000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95821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36262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7664" y="6636262"/>
                </a:lnTo>
                <a:lnTo>
                  <a:pt x="0" y="6649796"/>
                </a:lnTo>
                <a:close/>
              </a:path>
            </a:pathLst>
          </a:custGeom>
          <a:solidFill>
            <a:srgbClr val="0F334A"/>
          </a:solidFill>
          <a:ln>
            <a:solidFill>
              <a:srgbClr val="0F334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796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796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B71385AE-54E1-4BDE-BC5D-763A28271B97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45319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 2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4276260" y="-5190"/>
            <a:ext cx="7918704" cy="6858000"/>
          </a:xfrm>
          <a:prstGeom prst="rect">
            <a:avLst/>
          </a:prstGeom>
        </p:spPr>
      </p:pic>
      <p:sp>
        <p:nvSpPr>
          <p:cNvPr id="24" name="Parallelogram 19"/>
          <p:cNvSpPr/>
          <p:nvPr/>
        </p:nvSpPr>
        <p:spPr bwMode="white">
          <a:xfrm>
            <a:off x="0" y="-36000"/>
            <a:ext cx="8262125" cy="6660000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95821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36262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7664" y="6636262"/>
                </a:lnTo>
                <a:lnTo>
                  <a:pt x="0" y="6649796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8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800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1DB6BEBC-FB14-44A5-8F40-E843E5D58447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86566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 3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4276588" y="0"/>
            <a:ext cx="7918704" cy="6858000"/>
          </a:xfrm>
          <a:prstGeom prst="rect">
            <a:avLst/>
          </a:prstGeom>
        </p:spPr>
      </p:pic>
      <p:sp>
        <p:nvSpPr>
          <p:cNvPr id="24" name="Parallelogram 19"/>
          <p:cNvSpPr/>
          <p:nvPr/>
        </p:nvSpPr>
        <p:spPr bwMode="hidden">
          <a:xfrm>
            <a:off x="0" y="-36000"/>
            <a:ext cx="8262125" cy="6660000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95821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36262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7664" y="6636262"/>
                </a:lnTo>
                <a:lnTo>
                  <a:pt x="0" y="6649796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white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8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800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70694D4C-0E7E-4642-9FC5-F2E080084991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608562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Header-Section 4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4276592" y="0"/>
            <a:ext cx="7918704" cy="6858000"/>
          </a:xfrm>
          <a:prstGeom prst="rect">
            <a:avLst/>
          </a:prstGeom>
        </p:spPr>
      </p:pic>
      <p:sp>
        <p:nvSpPr>
          <p:cNvPr id="24" name="Parallelogram 19"/>
          <p:cNvSpPr/>
          <p:nvPr/>
        </p:nvSpPr>
        <p:spPr bwMode="white">
          <a:xfrm>
            <a:off x="0" y="-36000"/>
            <a:ext cx="8262125" cy="6660000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95821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36262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7664" y="6636262"/>
                </a:lnTo>
                <a:lnTo>
                  <a:pt x="0" y="6649796"/>
                </a:lnTo>
                <a:close/>
              </a:path>
            </a:pathLst>
          </a:custGeom>
          <a:solidFill>
            <a:srgbClr val="666666"/>
          </a:solidFill>
          <a:ln>
            <a:solidFill>
              <a:srgbClr val="6666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8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800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E8C78F9-E892-4E6A-AC7B-8F0B6429E7B2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7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8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414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der-Section Chosen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449600" y="-9230"/>
            <a:ext cx="7756114" cy="6620400"/>
          </a:xfrm>
          <a:custGeom>
            <a:avLst/>
            <a:gdLst>
              <a:gd name="connsiteX0" fmla="*/ 0 w 8834286"/>
              <a:gd name="connsiteY0" fmla="*/ 6603972 h 6603972"/>
              <a:gd name="connsiteX1" fmla="*/ 1650993 w 8834286"/>
              <a:gd name="connsiteY1" fmla="*/ 0 h 6603972"/>
              <a:gd name="connsiteX2" fmla="*/ 8834286 w 8834286"/>
              <a:gd name="connsiteY2" fmla="*/ 0 h 6603972"/>
              <a:gd name="connsiteX3" fmla="*/ 7183293 w 8834286"/>
              <a:gd name="connsiteY3" fmla="*/ 6603972 h 6603972"/>
              <a:gd name="connsiteX4" fmla="*/ 0 w 8834286"/>
              <a:gd name="connsiteY4" fmla="*/ 6603972 h 6603972"/>
              <a:gd name="connsiteX0" fmla="*/ 0 w 8834286"/>
              <a:gd name="connsiteY0" fmla="*/ 6603972 h 6603972"/>
              <a:gd name="connsiteX1" fmla="*/ 3793692 w 8834286"/>
              <a:gd name="connsiteY1" fmla="*/ 13648 h 6603972"/>
              <a:gd name="connsiteX2" fmla="*/ 8834286 w 8834286"/>
              <a:gd name="connsiteY2" fmla="*/ 0 h 6603972"/>
              <a:gd name="connsiteX3" fmla="*/ 7183293 w 8834286"/>
              <a:gd name="connsiteY3" fmla="*/ 6603972 h 6603972"/>
              <a:gd name="connsiteX4" fmla="*/ 0 w 8834286"/>
              <a:gd name="connsiteY4" fmla="*/ 6603972 h 6603972"/>
              <a:gd name="connsiteX0" fmla="*/ 0 w 8834286"/>
              <a:gd name="connsiteY0" fmla="*/ 6603972 h 6603972"/>
              <a:gd name="connsiteX1" fmla="*/ 3793692 w 8834286"/>
              <a:gd name="connsiteY1" fmla="*/ 13648 h 6603972"/>
              <a:gd name="connsiteX2" fmla="*/ 8834286 w 8834286"/>
              <a:gd name="connsiteY2" fmla="*/ 0 h 6603972"/>
              <a:gd name="connsiteX3" fmla="*/ 7756499 w 8834286"/>
              <a:gd name="connsiteY3" fmla="*/ 6576677 h 6603972"/>
              <a:gd name="connsiteX4" fmla="*/ 0 w 8834286"/>
              <a:gd name="connsiteY4" fmla="*/ 6603972 h 6603972"/>
              <a:gd name="connsiteX0" fmla="*/ 0 w 7756499"/>
              <a:gd name="connsiteY0" fmla="*/ 6590324 h 6590324"/>
              <a:gd name="connsiteX1" fmla="*/ 3793692 w 7756499"/>
              <a:gd name="connsiteY1" fmla="*/ 0 h 6590324"/>
              <a:gd name="connsiteX2" fmla="*/ 7756113 w 7756499"/>
              <a:gd name="connsiteY2" fmla="*/ 13648 h 6590324"/>
              <a:gd name="connsiteX3" fmla="*/ 7756499 w 7756499"/>
              <a:gd name="connsiteY3" fmla="*/ 6563029 h 6590324"/>
              <a:gd name="connsiteX4" fmla="*/ 0 w 7756499"/>
              <a:gd name="connsiteY4" fmla="*/ 6590324 h 6590324"/>
              <a:gd name="connsiteX0" fmla="*/ 0 w 7756499"/>
              <a:gd name="connsiteY0" fmla="*/ 6614776 h 6614776"/>
              <a:gd name="connsiteX1" fmla="*/ 3793692 w 7756499"/>
              <a:gd name="connsiteY1" fmla="*/ 24452 h 6614776"/>
              <a:gd name="connsiteX2" fmla="*/ 7756113 w 7756499"/>
              <a:gd name="connsiteY2" fmla="*/ 0 h 6614776"/>
              <a:gd name="connsiteX3" fmla="*/ 7756499 w 7756499"/>
              <a:gd name="connsiteY3" fmla="*/ 6587481 h 6614776"/>
              <a:gd name="connsiteX4" fmla="*/ 0 w 7756499"/>
              <a:gd name="connsiteY4" fmla="*/ 6614776 h 6614776"/>
              <a:gd name="connsiteX0" fmla="*/ 0 w 7756499"/>
              <a:gd name="connsiteY0" fmla="*/ 6614776 h 6614776"/>
              <a:gd name="connsiteX1" fmla="*/ 3808932 w 7756499"/>
              <a:gd name="connsiteY1" fmla="*/ 1592 h 6614776"/>
              <a:gd name="connsiteX2" fmla="*/ 7756113 w 7756499"/>
              <a:gd name="connsiteY2" fmla="*/ 0 h 6614776"/>
              <a:gd name="connsiteX3" fmla="*/ 7756499 w 7756499"/>
              <a:gd name="connsiteY3" fmla="*/ 6587481 h 6614776"/>
              <a:gd name="connsiteX4" fmla="*/ 0 w 7756499"/>
              <a:gd name="connsiteY4" fmla="*/ 6614776 h 6614776"/>
              <a:gd name="connsiteX0" fmla="*/ 0 w 7756499"/>
              <a:gd name="connsiteY0" fmla="*/ 6614776 h 6614776"/>
              <a:gd name="connsiteX1" fmla="*/ 3808932 w 7756499"/>
              <a:gd name="connsiteY1" fmla="*/ 1592 h 6614776"/>
              <a:gd name="connsiteX2" fmla="*/ 7756113 w 7756499"/>
              <a:gd name="connsiteY2" fmla="*/ 0 h 6614776"/>
              <a:gd name="connsiteX3" fmla="*/ 7756499 w 7756499"/>
              <a:gd name="connsiteY3" fmla="*/ 6601109 h 6614776"/>
              <a:gd name="connsiteX4" fmla="*/ 0 w 7756499"/>
              <a:gd name="connsiteY4" fmla="*/ 6614776 h 6614776"/>
              <a:gd name="connsiteX0" fmla="*/ 0 w 7756499"/>
              <a:gd name="connsiteY0" fmla="*/ 6614776 h 6614776"/>
              <a:gd name="connsiteX1" fmla="*/ 3808932 w 7756499"/>
              <a:gd name="connsiteY1" fmla="*/ 1592 h 6614776"/>
              <a:gd name="connsiteX2" fmla="*/ 7756113 w 7756499"/>
              <a:gd name="connsiteY2" fmla="*/ 0 h 6614776"/>
              <a:gd name="connsiteX3" fmla="*/ 7756499 w 7756499"/>
              <a:gd name="connsiteY3" fmla="*/ 6601109 h 6614776"/>
              <a:gd name="connsiteX4" fmla="*/ 0 w 7756499"/>
              <a:gd name="connsiteY4" fmla="*/ 6614776 h 6614776"/>
              <a:gd name="connsiteX0" fmla="*/ 0 w 7756114"/>
              <a:gd name="connsiteY0" fmla="*/ 6614776 h 6648668"/>
              <a:gd name="connsiteX1" fmla="*/ 3808932 w 7756114"/>
              <a:gd name="connsiteY1" fmla="*/ 1592 h 6648668"/>
              <a:gd name="connsiteX2" fmla="*/ 7756113 w 7756114"/>
              <a:gd name="connsiteY2" fmla="*/ 0 h 6648668"/>
              <a:gd name="connsiteX3" fmla="*/ 7746974 w 7756114"/>
              <a:gd name="connsiteY3" fmla="*/ 6648668 h 6648668"/>
              <a:gd name="connsiteX4" fmla="*/ 0 w 7756114"/>
              <a:gd name="connsiteY4" fmla="*/ 6614776 h 6648668"/>
              <a:gd name="connsiteX0" fmla="*/ 0 w 7756114"/>
              <a:gd name="connsiteY0" fmla="*/ 6614776 h 6629645"/>
              <a:gd name="connsiteX1" fmla="*/ 3808932 w 7756114"/>
              <a:gd name="connsiteY1" fmla="*/ 1592 h 6629645"/>
              <a:gd name="connsiteX2" fmla="*/ 7756113 w 7756114"/>
              <a:gd name="connsiteY2" fmla="*/ 0 h 6629645"/>
              <a:gd name="connsiteX3" fmla="*/ 7746974 w 7756114"/>
              <a:gd name="connsiteY3" fmla="*/ 6629645 h 6629645"/>
              <a:gd name="connsiteX4" fmla="*/ 0 w 7756114"/>
              <a:gd name="connsiteY4" fmla="*/ 6614776 h 6629645"/>
              <a:gd name="connsiteX0" fmla="*/ 0 w 7756114"/>
              <a:gd name="connsiteY0" fmla="*/ 6614776 h 6614776"/>
              <a:gd name="connsiteX1" fmla="*/ 3808932 w 7756114"/>
              <a:gd name="connsiteY1" fmla="*/ 1592 h 6614776"/>
              <a:gd name="connsiteX2" fmla="*/ 7756113 w 7756114"/>
              <a:gd name="connsiteY2" fmla="*/ 0 h 6614776"/>
              <a:gd name="connsiteX3" fmla="*/ 7746974 w 7756114"/>
              <a:gd name="connsiteY3" fmla="*/ 6610622 h 6614776"/>
              <a:gd name="connsiteX4" fmla="*/ 0 w 7756114"/>
              <a:gd name="connsiteY4" fmla="*/ 6614776 h 6614776"/>
              <a:gd name="connsiteX0" fmla="*/ 0 w 7756114"/>
              <a:gd name="connsiteY0" fmla="*/ 6614776 h 6614776"/>
              <a:gd name="connsiteX1" fmla="*/ 3808932 w 7756114"/>
              <a:gd name="connsiteY1" fmla="*/ 1592 h 6614776"/>
              <a:gd name="connsiteX2" fmla="*/ 7756113 w 7756114"/>
              <a:gd name="connsiteY2" fmla="*/ 0 h 6614776"/>
              <a:gd name="connsiteX3" fmla="*/ 7746974 w 7756114"/>
              <a:gd name="connsiteY3" fmla="*/ 6610622 h 6614776"/>
              <a:gd name="connsiteX4" fmla="*/ 3887009 w 7756114"/>
              <a:gd name="connsiteY4" fmla="*/ 6612741 h 6614776"/>
              <a:gd name="connsiteX5" fmla="*/ 0 w 7756114"/>
              <a:gd name="connsiteY5" fmla="*/ 6614776 h 6614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56114" h="6614776">
                <a:moveTo>
                  <a:pt x="0" y="6614776"/>
                </a:moveTo>
                <a:lnTo>
                  <a:pt x="3808932" y="1592"/>
                </a:lnTo>
                <a:lnTo>
                  <a:pt x="7756113" y="0"/>
                </a:lnTo>
                <a:cubicBezTo>
                  <a:pt x="7756242" y="2183127"/>
                  <a:pt x="7746845" y="4427495"/>
                  <a:pt x="7746974" y="6610622"/>
                </a:cubicBezTo>
                <a:lnTo>
                  <a:pt x="3887009" y="6612741"/>
                </a:lnTo>
                <a:lnTo>
                  <a:pt x="0" y="6614776"/>
                </a:lnTo>
                <a:close/>
              </a:path>
            </a:pathLst>
          </a:custGeom>
          <a:solidFill>
            <a:schemeClr val="accent5"/>
          </a:solidFill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600" y="2558683"/>
            <a:ext cx="52488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600" y="4158933"/>
            <a:ext cx="5248800" cy="504000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AD16F81E-68E4-4531-B73D-E7384D60CA66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4250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4276592" y="0"/>
            <a:ext cx="7918704" cy="6858000"/>
          </a:xfrm>
          <a:prstGeom prst="rect">
            <a:avLst/>
          </a:prstGeom>
        </p:spPr>
      </p:pic>
      <p:sp>
        <p:nvSpPr>
          <p:cNvPr id="25" name="Parallelogram 19"/>
          <p:cNvSpPr/>
          <p:nvPr/>
        </p:nvSpPr>
        <p:spPr bwMode="white">
          <a:xfrm>
            <a:off x="0" y="-36000"/>
            <a:ext cx="8262125" cy="6660000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95821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36262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7664" y="6636262"/>
                </a:lnTo>
                <a:lnTo>
                  <a:pt x="0" y="6649796"/>
                </a:lnTo>
                <a:close/>
              </a:path>
            </a:pathLst>
          </a:custGeom>
          <a:solidFill>
            <a:srgbClr val="0F33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2F22945-8C4D-4D52-A623-034FE22826B7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25274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2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4276260" y="5696"/>
            <a:ext cx="7918704" cy="6858000"/>
          </a:xfrm>
          <a:prstGeom prst="rect">
            <a:avLst/>
          </a:prstGeom>
        </p:spPr>
      </p:pic>
      <p:sp>
        <p:nvSpPr>
          <p:cNvPr id="25" name="Parallelogram 19"/>
          <p:cNvSpPr/>
          <p:nvPr/>
        </p:nvSpPr>
        <p:spPr bwMode="white">
          <a:xfrm>
            <a:off x="0" y="-36000"/>
            <a:ext cx="8262125" cy="6660000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95821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36262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7664" y="6636262"/>
                </a:lnTo>
                <a:lnTo>
                  <a:pt x="0" y="664979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D7B271CA-4855-4804-8AE6-F50A5FED28A3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6863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4E684-F7CE-44CB-8193-A82CD1172028}" type="datetime1">
              <a:rPr lang="fi-FI" smtClean="0"/>
              <a:t>2.8.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[Presentation name / Author]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5599" y="1789611"/>
            <a:ext cx="5185749" cy="4546389"/>
          </a:xfrm>
        </p:spPr>
        <p:txBody>
          <a:bodyPr/>
          <a:lstStyle>
            <a:lvl1pPr indent="-180000">
              <a:defRPr/>
            </a:lvl1pPr>
            <a:lvl2pPr marL="635000" indent="-231775">
              <a:tabLst/>
              <a:defRPr/>
            </a:lvl2pPr>
            <a:lvl3pPr marL="919163" indent="-168275">
              <a:tabLst/>
              <a:defRPr/>
            </a:lvl3pPr>
            <a:lvl4pPr marL="1204913" indent="-168275">
              <a:tabLst/>
              <a:defRPr/>
            </a:lvl4pPr>
            <a:lvl5pPr indent="-180000"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13417" y="1789611"/>
            <a:ext cx="5126083" cy="4546389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943802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3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4276588" y="0"/>
            <a:ext cx="7918704" cy="6858000"/>
          </a:xfrm>
          <a:prstGeom prst="rect">
            <a:avLst/>
          </a:prstGeom>
        </p:spPr>
      </p:pic>
      <p:sp>
        <p:nvSpPr>
          <p:cNvPr id="25" name="Parallelogram 19"/>
          <p:cNvSpPr/>
          <p:nvPr/>
        </p:nvSpPr>
        <p:spPr bwMode="white">
          <a:xfrm>
            <a:off x="0" y="-32825"/>
            <a:ext cx="8262125" cy="6660000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95821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36262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7664" y="6636262"/>
                </a:lnTo>
                <a:lnTo>
                  <a:pt x="0" y="664979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A581835C-2CDF-4E6D-91D8-517E4476149D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507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4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4276592" y="0"/>
            <a:ext cx="7918704" cy="6858000"/>
          </a:xfrm>
          <a:prstGeom prst="rect">
            <a:avLst/>
          </a:prstGeom>
        </p:spPr>
      </p:pic>
      <p:sp>
        <p:nvSpPr>
          <p:cNvPr id="25" name="Parallelogram 19"/>
          <p:cNvSpPr/>
          <p:nvPr/>
        </p:nvSpPr>
        <p:spPr bwMode="white">
          <a:xfrm>
            <a:off x="0" y="-32825"/>
            <a:ext cx="8262125" cy="6660000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95821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10108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7664 w 8262125"/>
              <a:gd name="connsiteY3" fmla="*/ 6636262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7664" y="6636262"/>
                </a:lnTo>
                <a:lnTo>
                  <a:pt x="0" y="6649796"/>
                </a:lnTo>
                <a:close/>
              </a:path>
            </a:pathLst>
          </a:cu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115ACEBB-8707-499E-B16B-875F0F0B65DF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67685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Intro Chosen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BBB4F91B-B47C-48C4-95BC-B38429BDF72F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20000" y="660401"/>
            <a:ext cx="6768000" cy="504000"/>
          </a:xfrm>
        </p:spPr>
        <p:txBody>
          <a:bodyPr rIns="0" anchor="t" anchorCtr="0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"/>
          <p:cNvSpPr>
            <a:spLocks noGrp="1"/>
          </p:cNvSpPr>
          <p:nvPr>
            <p:ph type="body" idx="1"/>
          </p:nvPr>
        </p:nvSpPr>
        <p:spPr>
          <a:xfrm>
            <a:off x="720000" y="1187133"/>
            <a:ext cx="6768000" cy="504000"/>
          </a:xfrm>
        </p:spPr>
        <p:txBody>
          <a:bodyPr tIns="0" rIns="0" bIns="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725" y="2324100"/>
            <a:ext cx="4740275" cy="2730500"/>
          </a:xfrm>
        </p:spPr>
        <p:txBody>
          <a:bodyPr rIns="0"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1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449600" y="-9230"/>
            <a:ext cx="7756114" cy="6620400"/>
          </a:xfrm>
          <a:custGeom>
            <a:avLst/>
            <a:gdLst>
              <a:gd name="connsiteX0" fmla="*/ 0 w 8834286"/>
              <a:gd name="connsiteY0" fmla="*/ 6603972 h 6603972"/>
              <a:gd name="connsiteX1" fmla="*/ 1650993 w 8834286"/>
              <a:gd name="connsiteY1" fmla="*/ 0 h 6603972"/>
              <a:gd name="connsiteX2" fmla="*/ 8834286 w 8834286"/>
              <a:gd name="connsiteY2" fmla="*/ 0 h 6603972"/>
              <a:gd name="connsiteX3" fmla="*/ 7183293 w 8834286"/>
              <a:gd name="connsiteY3" fmla="*/ 6603972 h 6603972"/>
              <a:gd name="connsiteX4" fmla="*/ 0 w 8834286"/>
              <a:gd name="connsiteY4" fmla="*/ 6603972 h 6603972"/>
              <a:gd name="connsiteX0" fmla="*/ 0 w 8834286"/>
              <a:gd name="connsiteY0" fmla="*/ 6603972 h 6603972"/>
              <a:gd name="connsiteX1" fmla="*/ 3793692 w 8834286"/>
              <a:gd name="connsiteY1" fmla="*/ 13648 h 6603972"/>
              <a:gd name="connsiteX2" fmla="*/ 8834286 w 8834286"/>
              <a:gd name="connsiteY2" fmla="*/ 0 h 6603972"/>
              <a:gd name="connsiteX3" fmla="*/ 7183293 w 8834286"/>
              <a:gd name="connsiteY3" fmla="*/ 6603972 h 6603972"/>
              <a:gd name="connsiteX4" fmla="*/ 0 w 8834286"/>
              <a:gd name="connsiteY4" fmla="*/ 6603972 h 6603972"/>
              <a:gd name="connsiteX0" fmla="*/ 0 w 8834286"/>
              <a:gd name="connsiteY0" fmla="*/ 6603972 h 6603972"/>
              <a:gd name="connsiteX1" fmla="*/ 3793692 w 8834286"/>
              <a:gd name="connsiteY1" fmla="*/ 13648 h 6603972"/>
              <a:gd name="connsiteX2" fmla="*/ 8834286 w 8834286"/>
              <a:gd name="connsiteY2" fmla="*/ 0 h 6603972"/>
              <a:gd name="connsiteX3" fmla="*/ 7756499 w 8834286"/>
              <a:gd name="connsiteY3" fmla="*/ 6576677 h 6603972"/>
              <a:gd name="connsiteX4" fmla="*/ 0 w 8834286"/>
              <a:gd name="connsiteY4" fmla="*/ 6603972 h 6603972"/>
              <a:gd name="connsiteX0" fmla="*/ 0 w 7756499"/>
              <a:gd name="connsiteY0" fmla="*/ 6590324 h 6590324"/>
              <a:gd name="connsiteX1" fmla="*/ 3793692 w 7756499"/>
              <a:gd name="connsiteY1" fmla="*/ 0 h 6590324"/>
              <a:gd name="connsiteX2" fmla="*/ 7756113 w 7756499"/>
              <a:gd name="connsiteY2" fmla="*/ 13648 h 6590324"/>
              <a:gd name="connsiteX3" fmla="*/ 7756499 w 7756499"/>
              <a:gd name="connsiteY3" fmla="*/ 6563029 h 6590324"/>
              <a:gd name="connsiteX4" fmla="*/ 0 w 7756499"/>
              <a:gd name="connsiteY4" fmla="*/ 6590324 h 6590324"/>
              <a:gd name="connsiteX0" fmla="*/ 0 w 7756499"/>
              <a:gd name="connsiteY0" fmla="*/ 6614776 h 6614776"/>
              <a:gd name="connsiteX1" fmla="*/ 3793692 w 7756499"/>
              <a:gd name="connsiteY1" fmla="*/ 24452 h 6614776"/>
              <a:gd name="connsiteX2" fmla="*/ 7756113 w 7756499"/>
              <a:gd name="connsiteY2" fmla="*/ 0 h 6614776"/>
              <a:gd name="connsiteX3" fmla="*/ 7756499 w 7756499"/>
              <a:gd name="connsiteY3" fmla="*/ 6587481 h 6614776"/>
              <a:gd name="connsiteX4" fmla="*/ 0 w 7756499"/>
              <a:gd name="connsiteY4" fmla="*/ 6614776 h 6614776"/>
              <a:gd name="connsiteX0" fmla="*/ 0 w 7756499"/>
              <a:gd name="connsiteY0" fmla="*/ 6614776 h 6614776"/>
              <a:gd name="connsiteX1" fmla="*/ 3808932 w 7756499"/>
              <a:gd name="connsiteY1" fmla="*/ 1592 h 6614776"/>
              <a:gd name="connsiteX2" fmla="*/ 7756113 w 7756499"/>
              <a:gd name="connsiteY2" fmla="*/ 0 h 6614776"/>
              <a:gd name="connsiteX3" fmla="*/ 7756499 w 7756499"/>
              <a:gd name="connsiteY3" fmla="*/ 6587481 h 6614776"/>
              <a:gd name="connsiteX4" fmla="*/ 0 w 7756499"/>
              <a:gd name="connsiteY4" fmla="*/ 6614776 h 6614776"/>
              <a:gd name="connsiteX0" fmla="*/ 0 w 7756499"/>
              <a:gd name="connsiteY0" fmla="*/ 6614776 h 6614776"/>
              <a:gd name="connsiteX1" fmla="*/ 3808932 w 7756499"/>
              <a:gd name="connsiteY1" fmla="*/ 1592 h 6614776"/>
              <a:gd name="connsiteX2" fmla="*/ 7756113 w 7756499"/>
              <a:gd name="connsiteY2" fmla="*/ 0 h 6614776"/>
              <a:gd name="connsiteX3" fmla="*/ 7756499 w 7756499"/>
              <a:gd name="connsiteY3" fmla="*/ 6601109 h 6614776"/>
              <a:gd name="connsiteX4" fmla="*/ 0 w 7756499"/>
              <a:gd name="connsiteY4" fmla="*/ 6614776 h 6614776"/>
              <a:gd name="connsiteX0" fmla="*/ 0 w 7756499"/>
              <a:gd name="connsiteY0" fmla="*/ 6614776 h 6614776"/>
              <a:gd name="connsiteX1" fmla="*/ 3808932 w 7756499"/>
              <a:gd name="connsiteY1" fmla="*/ 1592 h 6614776"/>
              <a:gd name="connsiteX2" fmla="*/ 7756113 w 7756499"/>
              <a:gd name="connsiteY2" fmla="*/ 0 h 6614776"/>
              <a:gd name="connsiteX3" fmla="*/ 7756499 w 7756499"/>
              <a:gd name="connsiteY3" fmla="*/ 6601109 h 6614776"/>
              <a:gd name="connsiteX4" fmla="*/ 0 w 7756499"/>
              <a:gd name="connsiteY4" fmla="*/ 6614776 h 6614776"/>
              <a:gd name="connsiteX0" fmla="*/ 0 w 7756114"/>
              <a:gd name="connsiteY0" fmla="*/ 6614776 h 6648668"/>
              <a:gd name="connsiteX1" fmla="*/ 3808932 w 7756114"/>
              <a:gd name="connsiteY1" fmla="*/ 1592 h 6648668"/>
              <a:gd name="connsiteX2" fmla="*/ 7756113 w 7756114"/>
              <a:gd name="connsiteY2" fmla="*/ 0 h 6648668"/>
              <a:gd name="connsiteX3" fmla="*/ 7746974 w 7756114"/>
              <a:gd name="connsiteY3" fmla="*/ 6648668 h 6648668"/>
              <a:gd name="connsiteX4" fmla="*/ 0 w 7756114"/>
              <a:gd name="connsiteY4" fmla="*/ 6614776 h 6648668"/>
              <a:gd name="connsiteX0" fmla="*/ 0 w 7756114"/>
              <a:gd name="connsiteY0" fmla="*/ 6614776 h 6629645"/>
              <a:gd name="connsiteX1" fmla="*/ 3808932 w 7756114"/>
              <a:gd name="connsiteY1" fmla="*/ 1592 h 6629645"/>
              <a:gd name="connsiteX2" fmla="*/ 7756113 w 7756114"/>
              <a:gd name="connsiteY2" fmla="*/ 0 h 6629645"/>
              <a:gd name="connsiteX3" fmla="*/ 7746974 w 7756114"/>
              <a:gd name="connsiteY3" fmla="*/ 6629645 h 6629645"/>
              <a:gd name="connsiteX4" fmla="*/ 0 w 7756114"/>
              <a:gd name="connsiteY4" fmla="*/ 6614776 h 6629645"/>
              <a:gd name="connsiteX0" fmla="*/ 0 w 7756114"/>
              <a:gd name="connsiteY0" fmla="*/ 6614776 h 6614776"/>
              <a:gd name="connsiteX1" fmla="*/ 3808932 w 7756114"/>
              <a:gd name="connsiteY1" fmla="*/ 1592 h 6614776"/>
              <a:gd name="connsiteX2" fmla="*/ 7756113 w 7756114"/>
              <a:gd name="connsiteY2" fmla="*/ 0 h 6614776"/>
              <a:gd name="connsiteX3" fmla="*/ 7746974 w 7756114"/>
              <a:gd name="connsiteY3" fmla="*/ 6610622 h 6614776"/>
              <a:gd name="connsiteX4" fmla="*/ 0 w 7756114"/>
              <a:gd name="connsiteY4" fmla="*/ 6614776 h 6614776"/>
              <a:gd name="connsiteX0" fmla="*/ 0 w 7756114"/>
              <a:gd name="connsiteY0" fmla="*/ 6614776 h 6614776"/>
              <a:gd name="connsiteX1" fmla="*/ 3808932 w 7756114"/>
              <a:gd name="connsiteY1" fmla="*/ 1592 h 6614776"/>
              <a:gd name="connsiteX2" fmla="*/ 7756113 w 7756114"/>
              <a:gd name="connsiteY2" fmla="*/ 0 h 6614776"/>
              <a:gd name="connsiteX3" fmla="*/ 7746974 w 7756114"/>
              <a:gd name="connsiteY3" fmla="*/ 6610622 h 6614776"/>
              <a:gd name="connsiteX4" fmla="*/ 3887009 w 7756114"/>
              <a:gd name="connsiteY4" fmla="*/ 6612741 h 6614776"/>
              <a:gd name="connsiteX5" fmla="*/ 0 w 7756114"/>
              <a:gd name="connsiteY5" fmla="*/ 6614776 h 6614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56114" h="6614776">
                <a:moveTo>
                  <a:pt x="0" y="6614776"/>
                </a:moveTo>
                <a:lnTo>
                  <a:pt x="3808932" y="1592"/>
                </a:lnTo>
                <a:lnTo>
                  <a:pt x="7756113" y="0"/>
                </a:lnTo>
                <a:cubicBezTo>
                  <a:pt x="7756242" y="2183127"/>
                  <a:pt x="7746845" y="4427495"/>
                  <a:pt x="7746974" y="6610622"/>
                </a:cubicBezTo>
                <a:lnTo>
                  <a:pt x="3887009" y="6612741"/>
                </a:lnTo>
                <a:lnTo>
                  <a:pt x="0" y="6614776"/>
                </a:lnTo>
                <a:close/>
              </a:path>
            </a:pathLst>
          </a:custGeom>
          <a:solidFill>
            <a:schemeClr val="accent5"/>
          </a:solidFill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453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layou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-3176" y="-9525"/>
            <a:ext cx="12195175" cy="6624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CA0301A0-DC18-4FB2-B6A7-47ACC1245AE0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086795">
                    <a:lumMod val="75000"/>
                  </a:srgbClr>
                </a:solidFill>
              </a:rPr>
              <a:t> </a:t>
            </a:r>
            <a:endParaRPr lang="fi-FI" sz="700" dirty="0">
              <a:solidFill>
                <a:srgbClr val="086795">
                  <a:lumMod val="75000"/>
                </a:srgbClr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086795">
                    <a:lumMod val="75000"/>
                  </a:srgbClr>
                </a:solidFill>
              </a:rPr>
              <a:t> </a:t>
            </a:r>
            <a:endParaRPr lang="fi-FI" sz="700">
              <a:solidFill>
                <a:srgbClr val="086795">
                  <a:lumMod val="75000"/>
                </a:srgbClr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4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5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33934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layout with Headlin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-3176" y="-9525"/>
            <a:ext cx="12195175" cy="6624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Add pictur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3600" y="-3600"/>
            <a:ext cx="4307052" cy="410400"/>
          </a:xfrm>
          <a:custGeom>
            <a:avLst/>
            <a:gdLst>
              <a:gd name="connsiteX0" fmla="*/ 0 w 4726081"/>
              <a:gd name="connsiteY0" fmla="*/ 503655 h 503655"/>
              <a:gd name="connsiteX1" fmla="*/ 125914 w 4726081"/>
              <a:gd name="connsiteY1" fmla="*/ 0 h 503655"/>
              <a:gd name="connsiteX2" fmla="*/ 4726081 w 4726081"/>
              <a:gd name="connsiteY2" fmla="*/ 0 h 503655"/>
              <a:gd name="connsiteX3" fmla="*/ 4600167 w 4726081"/>
              <a:gd name="connsiteY3" fmla="*/ 503655 h 503655"/>
              <a:gd name="connsiteX4" fmla="*/ 0 w 4726081"/>
              <a:gd name="connsiteY4" fmla="*/ 503655 h 503655"/>
              <a:gd name="connsiteX0" fmla="*/ 0 w 4726081"/>
              <a:gd name="connsiteY0" fmla="*/ 503655 h 503655"/>
              <a:gd name="connsiteX1" fmla="*/ 430714 w 4726081"/>
              <a:gd name="connsiteY1" fmla="*/ 0 h 503655"/>
              <a:gd name="connsiteX2" fmla="*/ 4726081 w 4726081"/>
              <a:gd name="connsiteY2" fmla="*/ 0 h 503655"/>
              <a:gd name="connsiteX3" fmla="*/ 4600167 w 4726081"/>
              <a:gd name="connsiteY3" fmla="*/ 503655 h 503655"/>
              <a:gd name="connsiteX4" fmla="*/ 0 w 4726081"/>
              <a:gd name="connsiteY4" fmla="*/ 503655 h 503655"/>
              <a:gd name="connsiteX0" fmla="*/ 0 w 4306981"/>
              <a:gd name="connsiteY0" fmla="*/ 497305 h 503655"/>
              <a:gd name="connsiteX1" fmla="*/ 11614 w 4306981"/>
              <a:gd name="connsiteY1" fmla="*/ 0 h 503655"/>
              <a:gd name="connsiteX2" fmla="*/ 4306981 w 4306981"/>
              <a:gd name="connsiteY2" fmla="*/ 0 h 503655"/>
              <a:gd name="connsiteX3" fmla="*/ 4181067 w 4306981"/>
              <a:gd name="connsiteY3" fmla="*/ 503655 h 503655"/>
              <a:gd name="connsiteX4" fmla="*/ 0 w 4306981"/>
              <a:gd name="connsiteY4" fmla="*/ 497305 h 503655"/>
              <a:gd name="connsiteX0" fmla="*/ 7436 w 4314417"/>
              <a:gd name="connsiteY0" fmla="*/ 497305 h 503655"/>
              <a:gd name="connsiteX1" fmla="*/ 0 w 4314417"/>
              <a:gd name="connsiteY1" fmla="*/ 0 h 503655"/>
              <a:gd name="connsiteX2" fmla="*/ 4314417 w 4314417"/>
              <a:gd name="connsiteY2" fmla="*/ 0 h 503655"/>
              <a:gd name="connsiteX3" fmla="*/ 4188503 w 4314417"/>
              <a:gd name="connsiteY3" fmla="*/ 503655 h 503655"/>
              <a:gd name="connsiteX4" fmla="*/ 7436 w 4314417"/>
              <a:gd name="connsiteY4" fmla="*/ 497305 h 503655"/>
              <a:gd name="connsiteX0" fmla="*/ 0 w 4306981"/>
              <a:gd name="connsiteY0" fmla="*/ 497305 h 503655"/>
              <a:gd name="connsiteX1" fmla="*/ 5264 w 4306981"/>
              <a:gd name="connsiteY1" fmla="*/ 0 h 503655"/>
              <a:gd name="connsiteX2" fmla="*/ 4306981 w 4306981"/>
              <a:gd name="connsiteY2" fmla="*/ 0 h 503655"/>
              <a:gd name="connsiteX3" fmla="*/ 4181067 w 4306981"/>
              <a:gd name="connsiteY3" fmla="*/ 503655 h 503655"/>
              <a:gd name="connsiteX4" fmla="*/ 0 w 4306981"/>
              <a:gd name="connsiteY4" fmla="*/ 497305 h 503655"/>
              <a:gd name="connsiteX0" fmla="*/ 0 w 4306981"/>
              <a:gd name="connsiteY0" fmla="*/ 497305 h 503655"/>
              <a:gd name="connsiteX1" fmla="*/ 5264 w 4306981"/>
              <a:gd name="connsiteY1" fmla="*/ 0 h 503655"/>
              <a:gd name="connsiteX2" fmla="*/ 4306981 w 4306981"/>
              <a:gd name="connsiteY2" fmla="*/ 0 h 503655"/>
              <a:gd name="connsiteX3" fmla="*/ 4206467 w 4306981"/>
              <a:gd name="connsiteY3" fmla="*/ 503655 h 503655"/>
              <a:gd name="connsiteX4" fmla="*/ 0 w 4306981"/>
              <a:gd name="connsiteY4" fmla="*/ 497305 h 503655"/>
              <a:gd name="connsiteX0" fmla="*/ 2236 w 4309217"/>
              <a:gd name="connsiteY0" fmla="*/ 497305 h 503655"/>
              <a:gd name="connsiteX1" fmla="*/ 356 w 4309217"/>
              <a:gd name="connsiteY1" fmla="*/ 0 h 503655"/>
              <a:gd name="connsiteX2" fmla="*/ 4309217 w 4309217"/>
              <a:gd name="connsiteY2" fmla="*/ 0 h 503655"/>
              <a:gd name="connsiteX3" fmla="*/ 4208703 w 4309217"/>
              <a:gd name="connsiteY3" fmla="*/ 503655 h 503655"/>
              <a:gd name="connsiteX4" fmla="*/ 2236 w 4309217"/>
              <a:gd name="connsiteY4" fmla="*/ 497305 h 503655"/>
              <a:gd name="connsiteX0" fmla="*/ 71 w 4307052"/>
              <a:gd name="connsiteY0" fmla="*/ 497305 h 503655"/>
              <a:gd name="connsiteX1" fmla="*/ 573 w 4307052"/>
              <a:gd name="connsiteY1" fmla="*/ 0 h 503655"/>
              <a:gd name="connsiteX2" fmla="*/ 4307052 w 4307052"/>
              <a:gd name="connsiteY2" fmla="*/ 0 h 503655"/>
              <a:gd name="connsiteX3" fmla="*/ 4206538 w 4307052"/>
              <a:gd name="connsiteY3" fmla="*/ 503655 h 503655"/>
              <a:gd name="connsiteX4" fmla="*/ 71 w 4307052"/>
              <a:gd name="connsiteY4" fmla="*/ 497305 h 50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7052" h="503655">
                <a:moveTo>
                  <a:pt x="71" y="497305"/>
                </a:moveTo>
                <a:cubicBezTo>
                  <a:pt x="1826" y="331537"/>
                  <a:pt x="-1182" y="165768"/>
                  <a:pt x="573" y="0"/>
                </a:cubicBezTo>
                <a:lnTo>
                  <a:pt x="4307052" y="0"/>
                </a:lnTo>
                <a:lnTo>
                  <a:pt x="4206538" y="503655"/>
                </a:lnTo>
                <a:lnTo>
                  <a:pt x="71" y="497305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vert="horz" wrap="none" lIns="288000" tIns="108000" rIns="288000" bIns="108000" rtlCol="0" anchor="ctr" anchorCtr="0">
            <a:spAutoFit/>
          </a:bodyPr>
          <a:lstStyle>
            <a:lvl1pPr algn="l">
              <a:defRPr lang="fi-FI" sz="14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6B9CE3B-4A4B-4291-8CFD-5E7E468E3187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086795">
                    <a:lumMod val="75000"/>
                  </a:srgbClr>
                </a:solidFill>
              </a:rPr>
              <a:t> </a:t>
            </a:r>
            <a:endParaRPr lang="fi-FI" sz="700" dirty="0">
              <a:solidFill>
                <a:srgbClr val="086795">
                  <a:lumMod val="75000"/>
                </a:srgbClr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086795">
                    <a:lumMod val="75000"/>
                  </a:srgbClr>
                </a:solidFill>
              </a:rPr>
              <a:t> </a:t>
            </a:r>
            <a:endParaRPr lang="fi-FI" sz="700">
              <a:solidFill>
                <a:srgbClr val="086795">
                  <a:lumMod val="75000"/>
                </a:srgbClr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4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5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10760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71BBED-1AF2-41B2-ADBD-567250B03F04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351061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Headlin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5600" y="2124000"/>
            <a:ext cx="4930140" cy="4212000"/>
          </a:xfrm>
        </p:spPr>
        <p:txBody>
          <a:bodyPr/>
          <a:lstStyle>
            <a:lvl1pPr indent="-180000">
              <a:defRPr/>
            </a:lvl1pPr>
            <a:lvl2pPr indent="-180000">
              <a:defRPr/>
            </a:lvl2pPr>
            <a:lvl3pPr indent="-180000">
              <a:defRPr/>
            </a:lvl3pPr>
            <a:lvl4pPr indent="-180000">
              <a:defRPr/>
            </a:lvl4pPr>
            <a:lvl5pPr indent="-180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9360" y="2124000"/>
            <a:ext cx="4930140" cy="421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CDFF2-3203-4441-8D32-9C69D4A7AE26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306907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with Headlin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05600" y="990000"/>
            <a:ext cx="4932000" cy="61588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5600" y="1619188"/>
            <a:ext cx="4932000" cy="4826000"/>
          </a:xfrm>
        </p:spPr>
        <p:txBody>
          <a:bodyPr/>
          <a:lstStyle>
            <a:lvl1pPr indent="-180000">
              <a:defRPr/>
            </a:lvl1pPr>
            <a:lvl2pPr indent="-180000">
              <a:defRPr/>
            </a:lvl2pPr>
            <a:lvl3pPr indent="-180000">
              <a:defRPr/>
            </a:lvl3pPr>
            <a:lvl4pPr indent="-180000">
              <a:defRPr/>
            </a:lvl4pPr>
            <a:lvl5pPr indent="-18000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96024" y="990600"/>
            <a:ext cx="4932000" cy="615600"/>
          </a:xfrm>
        </p:spPr>
        <p:txBody>
          <a:bodyPr/>
          <a:lstStyle>
            <a:lvl1pPr marL="0" indent="0">
              <a:buNone/>
              <a:defRPr lang="en-US" sz="2000" b="1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6660" y="1619187"/>
            <a:ext cx="4932000" cy="482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89E676-D836-486A-ACC1-52AFD823BC24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726556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DD6EF1-B180-416B-AC5E-FE1F4E2589CE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482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62337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2">
    <p:bg>
      <p:bgPr>
        <a:solidFill>
          <a:srgbClr val="0F3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004A6B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8800" y="2558683"/>
            <a:ext cx="9288000" cy="1563673"/>
          </a:xfrm>
        </p:spPr>
        <p:txBody>
          <a:bodyPr tIns="0" bIns="0" anchor="ctr">
            <a:noAutofit/>
          </a:bodyPr>
          <a:lstStyle>
            <a:lvl1pPr>
              <a:defRPr sz="3200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68800" y="4158933"/>
            <a:ext cx="9288000" cy="998284"/>
          </a:xfrm>
        </p:spPr>
        <p:txBody>
          <a:bodyPr>
            <a:normAutofit/>
          </a:bodyPr>
          <a:lstStyle>
            <a:lvl1pPr marL="0" indent="0">
              <a:buNone/>
              <a:defRPr sz="2000" b="1">
                <a:solidFill>
                  <a:srgbClr val="E6E6E6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/>
              <a:t>2.8.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chemeClr val="accent4"/>
                </a:solidFill>
              </a:rPr>
              <a:t>© Wärtsilä</a:t>
            </a:r>
          </a:p>
        </p:txBody>
      </p:sp>
      <p:sp>
        <p:nvSpPr>
          <p:cNvPr id="22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b="0" cap="all" spc="100" smtClean="0">
                <a:solidFill>
                  <a:schemeClr val="accent4"/>
                </a:solidFill>
              </a:rPr>
              <a:t>Public</a:t>
            </a:r>
            <a:endParaRPr lang="fi-FI" sz="900" b="0" cap="all" spc="100" dirty="0">
              <a:solidFill>
                <a:schemeClr val="accent4"/>
              </a:solidFill>
            </a:endParaRP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700" b="0" i="0" u="none" strike="noStrike" cap="none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latin typeface="Arial" charset="0"/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i-FI" sz="700" b="0" i="0" u="none" strike="noStrike" cap="none" normalizeH="0" baseline="0" smtClean="0">
                <a:ln>
                  <a:noFill/>
                </a:ln>
                <a:solidFill>
                  <a:schemeClr val="accent4"/>
                </a:solidFill>
                <a:effectLst/>
                <a:latin typeface="Arial" charset="0"/>
              </a:rPr>
              <a:t> </a:t>
            </a:r>
            <a:endParaRPr kumimoji="0" lang="fi-FI" sz="700" b="0" i="0" u="none" strike="noStrike" cap="none" normalizeH="0" baseline="0" dirty="0">
              <a:ln>
                <a:noFill/>
              </a:ln>
              <a:solidFill>
                <a:schemeClr val="accent4"/>
              </a:solidFill>
              <a:effectLst/>
              <a:latin typeface="Arial" charset="0"/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700" b="0" i="0" u="none" strike="noStrike" cap="none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latin typeface="Arial" charset="0"/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i-FI" sz="700" b="0" i="0" u="none" strike="noStrike" cap="none" normalizeH="0" baseline="0" smtClean="0">
                <a:ln>
                  <a:noFill/>
                </a:ln>
                <a:solidFill>
                  <a:schemeClr val="accent4"/>
                </a:solidFill>
                <a:effectLst/>
                <a:latin typeface="Arial" charset="0"/>
              </a:rPr>
              <a:t> </a:t>
            </a:r>
            <a:endParaRPr kumimoji="0" lang="fi-FI" sz="700" b="0" i="0" u="none" strike="noStrike" cap="none" normalizeH="0" baseline="0">
              <a:ln>
                <a:noFill/>
              </a:ln>
              <a:solidFill>
                <a:schemeClr val="accent4"/>
              </a:solidFill>
              <a:effectLst/>
              <a:latin typeface="Arial" charset="0"/>
            </a:endParaRPr>
          </a:p>
        </p:txBody>
      </p:sp>
      <p:sp>
        <p:nvSpPr>
          <p:cNvPr id="25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baseline="0" dirty="0">
                <a:ln>
                  <a:noFill/>
                </a:ln>
                <a:solidFill>
                  <a:srgbClr val="FF0000"/>
                </a:solidFill>
                <a:effectLst/>
              </a:rPr>
              <a:t>SECRET</a:t>
            </a:r>
          </a:p>
        </p:txBody>
      </p:sp>
      <p:sp>
        <p:nvSpPr>
          <p:cNvPr id="26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04535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478289" y="3105401"/>
            <a:ext cx="5872167" cy="907041"/>
          </a:xfrm>
        </p:spPr>
        <p:txBody>
          <a:bodyPr>
            <a:normAutofit/>
          </a:bodyPr>
          <a:lstStyle>
            <a:lvl1pPr>
              <a:defRPr sz="3200" cap="all" baseline="0">
                <a:solidFill>
                  <a:srgbClr val="0F334A"/>
                </a:solidFill>
              </a:defRPr>
            </a:lvl1pPr>
          </a:lstStyle>
          <a:p>
            <a:r>
              <a:rPr lang="en-US" dirty="0"/>
              <a:t>ADD THANK YOU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478289" y="4370387"/>
            <a:ext cx="2460090" cy="11668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rgbClr val="80808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Add contact Information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E942C-0AE3-4709-B85E-260055381D0E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757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tarter/End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4392000" y="2160000"/>
            <a:ext cx="3449919" cy="21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18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tarter/End Slide 2">
    <p:bg>
      <p:bgPr>
        <a:solidFill>
          <a:srgbClr val="0F3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392000" y="2160000"/>
            <a:ext cx="3449919" cy="21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977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F80295-51C6-4040-A68E-3BFEEFA93714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25" y="990000"/>
            <a:ext cx="7128915" cy="78909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325" y="2133600"/>
            <a:ext cx="7128915" cy="4202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968260" y="0"/>
            <a:ext cx="4223740" cy="6611171"/>
          </a:xfrm>
          <a:custGeom>
            <a:avLst/>
            <a:gdLst/>
            <a:ahLst/>
            <a:cxnLst/>
            <a:rect l="l" t="t" r="r" b="b"/>
            <a:pathLst>
              <a:path w="4223740" h="6611171">
                <a:moveTo>
                  <a:pt x="0" y="0"/>
                </a:moveTo>
                <a:lnTo>
                  <a:pt x="2217140" y="0"/>
                </a:lnTo>
                <a:lnTo>
                  <a:pt x="2775940" y="876300"/>
                </a:lnTo>
                <a:lnTo>
                  <a:pt x="4223740" y="876300"/>
                </a:lnTo>
                <a:lnTo>
                  <a:pt x="4223740" y="1772770"/>
                </a:lnTo>
                <a:lnTo>
                  <a:pt x="4223740" y="2349500"/>
                </a:lnTo>
                <a:lnTo>
                  <a:pt x="4223740" y="6611171"/>
                </a:lnTo>
                <a:lnTo>
                  <a:pt x="0" y="6611171"/>
                </a:lnTo>
                <a:lnTo>
                  <a:pt x="0" y="2349500"/>
                </a:lnTo>
                <a:lnTo>
                  <a:pt x="0" y="177277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383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0ACE5E-4B2F-41B0-9E09-CF6A337F1F6A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695325" y="2133600"/>
            <a:ext cx="5184645" cy="42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312030" y="2133600"/>
            <a:ext cx="5184645" cy="42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8901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E4573-75C6-4777-AB7C-49C6D2E3F10C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990000"/>
            <a:ext cx="5184645" cy="710760"/>
          </a:xfrm>
        </p:spPr>
        <p:txBody>
          <a:bodyPr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312029" y="990600"/>
            <a:ext cx="5184645" cy="710160"/>
          </a:xfrm>
        </p:spPr>
        <p:txBody>
          <a:bodyPr anchor="t" anchorCtr="0">
            <a:noAutofit/>
          </a:bodyPr>
          <a:lstStyle>
            <a:lvl1pPr marL="0" indent="0">
              <a:buNone/>
              <a:defRPr lang="en-US" sz="2400" b="1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95325" y="1700760"/>
            <a:ext cx="5184645" cy="4635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6312030" y="1700760"/>
            <a:ext cx="5184645" cy="4635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64914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with Headlin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8E60E7-D310-4AB4-A376-08C440D11E3E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95325" y="2133600"/>
            <a:ext cx="5184645" cy="42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312030" y="2133600"/>
            <a:ext cx="5184645" cy="42024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21356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 with Headlin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5E495F-5BF9-4282-A7CB-96FCACD4F30F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11" name="Title 7"/>
          <p:cNvSpPr>
            <a:spLocks noGrp="1"/>
          </p:cNvSpPr>
          <p:nvPr>
            <p:ph type="title"/>
          </p:nvPr>
        </p:nvSpPr>
        <p:spPr>
          <a:xfrm>
            <a:off x="695325" y="990000"/>
            <a:ext cx="5184645" cy="710760"/>
          </a:xfrm>
        </p:spPr>
        <p:txBody>
          <a:bodyPr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312029" y="990600"/>
            <a:ext cx="5184645" cy="710160"/>
          </a:xfrm>
        </p:spPr>
        <p:txBody>
          <a:bodyPr anchor="t" anchorCtr="0">
            <a:noAutofit/>
          </a:bodyPr>
          <a:lstStyle>
            <a:lvl1pPr marL="0" indent="0">
              <a:buNone/>
              <a:defRPr lang="en-US" sz="2400" b="1" kern="120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695325" y="1700760"/>
            <a:ext cx="5184645" cy="4635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312030" y="1700760"/>
            <a:ext cx="5184645" cy="4635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21386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2F9558-0BF9-45DA-9609-806CA0018701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30648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rter/End Slide 2">
    <p:bg>
      <p:bgPr>
        <a:solidFill>
          <a:srgbClr val="0F3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392000" y="2160000"/>
            <a:ext cx="3449919" cy="2106000"/>
          </a:xfrm>
          <a:prstGeom prst="rect">
            <a:avLst/>
          </a:prstGeom>
        </p:spPr>
      </p:pic>
      <p:sp>
        <p:nvSpPr>
          <p:cNvPr id="3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3351164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1478289" y="3105401"/>
            <a:ext cx="5872167" cy="907041"/>
          </a:xfrm>
        </p:spPr>
        <p:txBody>
          <a:bodyPr>
            <a:normAutofit/>
          </a:bodyPr>
          <a:lstStyle>
            <a:lvl1pPr>
              <a:defRPr sz="3200" cap="all" baseline="0">
                <a:solidFill>
                  <a:srgbClr val="0F334A"/>
                </a:solidFill>
              </a:defRPr>
            </a:lvl1pPr>
          </a:lstStyle>
          <a:p>
            <a:r>
              <a:rPr lang="en-US" dirty="0"/>
              <a:t>ADD THANK YOU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478289" y="4370387"/>
            <a:ext cx="2460090" cy="11668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1">
                <a:solidFill>
                  <a:srgbClr val="808080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Add contact Information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/>
              <a:t>2.8.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[Presentation name / Author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0551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">
    <p:bg>
      <p:bgPr>
        <a:solidFill>
          <a:srgbClr val="004A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22920" y="-37330"/>
            <a:ext cx="12257811" cy="6905889"/>
            <a:chOff x="-22920" y="-37330"/>
            <a:chExt cx="12257811" cy="6905889"/>
          </a:xfrm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-8899" y="1314450"/>
              <a:ext cx="12243790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708" h="10000">
                  <a:moveTo>
                    <a:pt x="0" y="10000"/>
                  </a:moveTo>
                  <a:lnTo>
                    <a:pt x="1260" y="10000"/>
                  </a:lnTo>
                  <a:cubicBezTo>
                    <a:pt x="1391" y="6667"/>
                    <a:pt x="1520" y="3333"/>
                    <a:pt x="1650" y="0"/>
                  </a:cubicBezTo>
                  <a:lnTo>
                    <a:pt x="9708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13" name="Rectangle 12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5188" y="2133600"/>
            <a:ext cx="8641462" cy="2413840"/>
          </a:xfrm>
        </p:spPr>
        <p:txBody>
          <a:bodyPr tIns="0" bIns="0" anchor="ctr">
            <a:noAutofit/>
          </a:bodyPr>
          <a:lstStyle>
            <a:lvl1pPr>
              <a:defRPr sz="320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8B1E8F89-DFB3-422E-8088-E178983A0F2C}" type="datetime3">
              <a:rPr lang="en-SG" smtClean="0"/>
              <a:pPr/>
              <a:t>2 August 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r>
              <a:rPr lang="en-US"/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999999"/>
                </a:solidFill>
              </a:defRPr>
            </a:lvl1pPr>
          </a:lstStyle>
          <a:p>
            <a:fld id="{5F80C46A-BDF6-478F-96A5-81B6E525D8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999999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22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3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4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7573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Headline and Pictur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C584C-7F17-419C-B3C7-C24176500F93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95325" y="2133600"/>
            <a:ext cx="6336805" cy="41751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7321630" y="2133600"/>
            <a:ext cx="4176000" cy="4175125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777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eadline and Pictures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62235-11BC-4BF8-88ED-9F975F230432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95325" y="2132820"/>
            <a:ext cx="8569115" cy="41751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9480750" y="2133601"/>
            <a:ext cx="2016000" cy="2015500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9480750" y="4293225"/>
            <a:ext cx="2016000" cy="2015500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5916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Headline and Pictures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CD9D2B-3721-4F3E-8E78-367F2C9ECFF5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95325" y="2132820"/>
            <a:ext cx="7272935" cy="41751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183563" y="2133601"/>
            <a:ext cx="3313187" cy="2015500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8183563" y="4293225"/>
            <a:ext cx="3313187" cy="2015500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632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FE30CF-D860-4EA9-9DE0-B601E440EEDF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95325" y="1124680"/>
            <a:ext cx="10801350" cy="521132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2566016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412749-2481-4C05-B6EE-28B8C94D7298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95325" y="1268413"/>
            <a:ext cx="5328665" cy="4896967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68011" y="1268413"/>
            <a:ext cx="5328664" cy="4896967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6003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BBE6E-47FC-4938-A8CB-A95AD12F5D0D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95325" y="1268413"/>
            <a:ext cx="8065045" cy="4896967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8904391" y="1268413"/>
            <a:ext cx="2592284" cy="2376617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04391" y="3789051"/>
            <a:ext cx="2592284" cy="2376330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6773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368C9B-BF8C-4D9F-AAE0-12CC7F9A8443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95325" y="1268413"/>
            <a:ext cx="5328665" cy="4896967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68010" y="1268413"/>
            <a:ext cx="5328665" cy="2376617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168010" y="3789051"/>
            <a:ext cx="5328665" cy="2376330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2585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F40476-22EB-4F69-8BCF-E8FC646C21FC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95325" y="1268413"/>
            <a:ext cx="3960475" cy="4896967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799858" y="1268413"/>
            <a:ext cx="2592284" cy="2376617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4799858" y="3789051"/>
            <a:ext cx="2592284" cy="2376330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536200" y="1268413"/>
            <a:ext cx="3960475" cy="4896967"/>
          </a:xfrm>
          <a:solidFill>
            <a:schemeClr val="accent5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570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ghlight &amp;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3320988"/>
          </a:xfrm>
          <a:custGeom>
            <a:avLst/>
            <a:gdLst/>
            <a:ahLst/>
            <a:cxnLst/>
            <a:rect l="l" t="t" r="r" b="b"/>
            <a:pathLst>
              <a:path w="12192000" h="3320988">
                <a:moveTo>
                  <a:pt x="0" y="0"/>
                </a:moveTo>
                <a:lnTo>
                  <a:pt x="10185400" y="0"/>
                </a:lnTo>
                <a:lnTo>
                  <a:pt x="10744200" y="876300"/>
                </a:lnTo>
                <a:lnTo>
                  <a:pt x="12192000" y="876300"/>
                </a:lnTo>
                <a:lnTo>
                  <a:pt x="12192000" y="3320988"/>
                </a:lnTo>
                <a:lnTo>
                  <a:pt x="0" y="3320988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35F6A-0249-4F89-B687-E5E40864E1FD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0" y="3321049"/>
            <a:ext cx="12191999" cy="3311525"/>
          </a:xfrm>
          <a:noFill/>
        </p:spPr>
        <p:txBody>
          <a:bodyPr lIns="792000" tIns="396000" rIns="792000" bIns="396000" anchor="t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695325" y="4221163"/>
            <a:ext cx="10801350" cy="2087562"/>
          </a:xfrm>
        </p:spPr>
        <p:txBody>
          <a:bodyPr/>
          <a:lstStyle>
            <a:lvl1pPr marL="266700" indent="-266700">
              <a:defRPr>
                <a:solidFill>
                  <a:srgbClr val="4D4D4D"/>
                </a:solidFill>
              </a:defRPr>
            </a:lvl1pPr>
            <a:lvl2pPr marL="541338" indent="-274638">
              <a:defRPr>
                <a:solidFill>
                  <a:srgbClr val="4D4D4D"/>
                </a:solidFill>
              </a:defRPr>
            </a:lvl2pPr>
            <a:lvl3pPr marL="808038" indent="-266700">
              <a:defRPr>
                <a:solidFill>
                  <a:srgbClr val="4D4D4D"/>
                </a:solidFill>
              </a:defRPr>
            </a:lvl3pPr>
            <a:lvl4pPr marL="1074738" indent="-266700">
              <a:defRPr>
                <a:solidFill>
                  <a:srgbClr val="4D4D4D"/>
                </a:solidFill>
              </a:defRPr>
            </a:lvl4pPr>
            <a:lvl5pPr marL="1339850" indent="-265113"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-3600" y="-14372"/>
            <a:ext cx="2787357" cy="433553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414443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Starter/End Slide 2">
    <p:bg>
      <p:bgPr>
        <a:solidFill>
          <a:srgbClr val="0F334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392000" y="2160000"/>
            <a:ext cx="3449919" cy="21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2776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ighlight &amp;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3320988"/>
          </a:xfrm>
          <a:custGeom>
            <a:avLst/>
            <a:gdLst/>
            <a:ahLst/>
            <a:cxnLst/>
            <a:rect l="l" t="t" r="r" b="b"/>
            <a:pathLst>
              <a:path w="12192000" h="3320988">
                <a:moveTo>
                  <a:pt x="0" y="0"/>
                </a:moveTo>
                <a:lnTo>
                  <a:pt x="10185400" y="0"/>
                </a:lnTo>
                <a:lnTo>
                  <a:pt x="10744200" y="876300"/>
                </a:lnTo>
                <a:lnTo>
                  <a:pt x="12192000" y="876300"/>
                </a:lnTo>
                <a:lnTo>
                  <a:pt x="12192000" y="3320988"/>
                </a:lnTo>
                <a:lnTo>
                  <a:pt x="0" y="3320988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59829A-0588-422D-9FD4-4518392AB305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695325" y="3716338"/>
            <a:ext cx="10801350" cy="2592387"/>
          </a:xfrm>
        </p:spPr>
        <p:txBody>
          <a:bodyPr/>
          <a:lstStyle>
            <a:lvl1pPr marL="266700" indent="-266700">
              <a:defRPr>
                <a:solidFill>
                  <a:srgbClr val="4D4D4D"/>
                </a:solidFill>
              </a:defRPr>
            </a:lvl1pPr>
            <a:lvl2pPr marL="541338" indent="-274638">
              <a:defRPr>
                <a:solidFill>
                  <a:srgbClr val="4D4D4D"/>
                </a:solidFill>
              </a:defRPr>
            </a:lvl2pPr>
            <a:lvl3pPr marL="808038" indent="-266700">
              <a:defRPr>
                <a:solidFill>
                  <a:srgbClr val="4D4D4D"/>
                </a:solidFill>
              </a:defRPr>
            </a:lvl3pPr>
            <a:lvl4pPr marL="1074738" indent="-266700">
              <a:defRPr>
                <a:solidFill>
                  <a:srgbClr val="4D4D4D"/>
                </a:solidFill>
              </a:defRPr>
            </a:lvl4pPr>
            <a:lvl5pPr marL="1339850" indent="-265113"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-3600" y="-14372"/>
            <a:ext cx="2787357" cy="433553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390927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ighlight &amp;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2349500"/>
          </a:xfrm>
          <a:custGeom>
            <a:avLst/>
            <a:gdLst/>
            <a:ahLst/>
            <a:cxnLst/>
            <a:rect l="l" t="t" r="r" b="b"/>
            <a:pathLst>
              <a:path w="12192000" h="2349500">
                <a:moveTo>
                  <a:pt x="0" y="0"/>
                </a:moveTo>
                <a:lnTo>
                  <a:pt x="10185400" y="0"/>
                </a:lnTo>
                <a:lnTo>
                  <a:pt x="10744200" y="876300"/>
                </a:lnTo>
                <a:lnTo>
                  <a:pt x="12192000" y="876300"/>
                </a:lnTo>
                <a:lnTo>
                  <a:pt x="12192000" y="2349500"/>
                </a:lnTo>
                <a:lnTo>
                  <a:pt x="0" y="234950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AE16C-E2E5-4FE9-ADA1-0DAC0A5696CF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695325" y="2708900"/>
            <a:ext cx="10801350" cy="3599825"/>
          </a:xfrm>
        </p:spPr>
        <p:txBody>
          <a:bodyPr/>
          <a:lstStyle>
            <a:lvl1pPr marL="266700" indent="-266700">
              <a:defRPr>
                <a:solidFill>
                  <a:srgbClr val="4D4D4D"/>
                </a:solidFill>
              </a:defRPr>
            </a:lvl1pPr>
            <a:lvl2pPr marL="541338" indent="-274638">
              <a:defRPr>
                <a:solidFill>
                  <a:srgbClr val="4D4D4D"/>
                </a:solidFill>
              </a:defRPr>
            </a:lvl2pPr>
            <a:lvl3pPr marL="808038" indent="-266700">
              <a:defRPr>
                <a:solidFill>
                  <a:srgbClr val="4D4D4D"/>
                </a:solidFill>
              </a:defRPr>
            </a:lvl3pPr>
            <a:lvl4pPr marL="1074738" indent="-266700">
              <a:defRPr>
                <a:solidFill>
                  <a:srgbClr val="4D4D4D"/>
                </a:solidFill>
              </a:defRPr>
            </a:lvl4pPr>
            <a:lvl5pPr marL="1339850" indent="-265113">
              <a:defRPr>
                <a:solidFill>
                  <a:srgbClr val="4D4D4D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-3600" y="-14372"/>
            <a:ext cx="2787357" cy="433553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444202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ighlight &amp; Content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597440"/>
          </a:xfrm>
          <a:custGeom>
            <a:avLst/>
            <a:gdLst/>
            <a:ahLst/>
            <a:cxnLst/>
            <a:rect l="l" t="t" r="r" b="b"/>
            <a:pathLst>
              <a:path w="12192000" h="6597440">
                <a:moveTo>
                  <a:pt x="0" y="0"/>
                </a:moveTo>
                <a:lnTo>
                  <a:pt x="10185400" y="0"/>
                </a:lnTo>
                <a:lnTo>
                  <a:pt x="10744200" y="876300"/>
                </a:lnTo>
                <a:lnTo>
                  <a:pt x="12192000" y="876300"/>
                </a:lnTo>
                <a:lnTo>
                  <a:pt x="12192000" y="3068950"/>
                </a:lnTo>
                <a:lnTo>
                  <a:pt x="12192000" y="3320988"/>
                </a:lnTo>
                <a:lnTo>
                  <a:pt x="12192000" y="6597440"/>
                </a:lnTo>
                <a:lnTo>
                  <a:pt x="0" y="6597440"/>
                </a:lnTo>
                <a:lnTo>
                  <a:pt x="0" y="3320988"/>
                </a:lnTo>
                <a:lnTo>
                  <a:pt x="0" y="3068950"/>
                </a:lnTo>
                <a:close/>
              </a:path>
            </a:pathLst>
          </a:custGeom>
          <a:solidFill>
            <a:schemeClr val="bg2"/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C2D774-8EFD-480E-AF7F-5DF39885C57E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0" y="5013220"/>
            <a:ext cx="12191999" cy="1584220"/>
          </a:xfrm>
          <a:solidFill>
            <a:srgbClr val="FFFFFF">
              <a:alpha val="80000"/>
            </a:srgbClr>
          </a:solidFill>
        </p:spPr>
        <p:txBody>
          <a:bodyPr lIns="792000" tIns="396000" rIns="792000" bIns="396000" anchor="t" anchorCtr="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4" hasCustomPrompt="1"/>
          </p:nvPr>
        </p:nvSpPr>
        <p:spPr bwMode="ltGray">
          <a:xfrm>
            <a:off x="-3600" y="-14372"/>
            <a:ext cx="2787357" cy="433553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9" name="Copyright"/>
          <p:cNvSpPr txBox="1"/>
          <p:nvPr userDrawn="1"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</p:spTree>
    <p:extLst>
      <p:ext uri="{BB962C8B-B14F-4D97-AF65-F5344CB8AC3E}">
        <p14:creationId xmlns:p14="http://schemas.microsoft.com/office/powerpoint/2010/main" val="402021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eferenc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7C6FE7-B49D-4220-A81D-082D57EE6424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95325" y="1016000"/>
            <a:ext cx="5292725" cy="76309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203950" y="1016001"/>
            <a:ext cx="5292726" cy="3565127"/>
          </a:xfrm>
          <a:solidFill>
            <a:schemeClr val="accent5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fi-FI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6204694" y="4725144"/>
            <a:ext cx="2519598" cy="16201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grpSp>
        <p:nvGrpSpPr>
          <p:cNvPr id="11" name="Group 3"/>
          <p:cNvGrpSpPr>
            <a:grpSpLocks/>
          </p:cNvGrpSpPr>
          <p:nvPr userDrawn="1"/>
        </p:nvGrpSpPr>
        <p:grpSpPr bwMode="auto">
          <a:xfrm>
            <a:off x="6309692" y="4960902"/>
            <a:ext cx="2337576" cy="1240406"/>
            <a:chOff x="650" y="975"/>
            <a:chExt cx="4458" cy="2366"/>
          </a:xfrm>
          <a:solidFill>
            <a:schemeClr val="bg1">
              <a:lumMod val="65000"/>
            </a:schemeClr>
          </a:solidFill>
        </p:grpSpPr>
        <p:sp>
          <p:nvSpPr>
            <p:cNvPr id="13" name="Freeform 4"/>
            <p:cNvSpPr>
              <a:spLocks/>
            </p:cNvSpPr>
            <p:nvPr/>
          </p:nvSpPr>
          <p:spPr bwMode="auto">
            <a:xfrm>
              <a:off x="2525" y="975"/>
              <a:ext cx="2583" cy="1984"/>
            </a:xfrm>
            <a:custGeom>
              <a:avLst/>
              <a:gdLst>
                <a:gd name="T0" fmla="*/ 217 w 2583"/>
                <a:gd name="T1" fmla="*/ 794 h 1984"/>
                <a:gd name="T2" fmla="*/ 414 w 2583"/>
                <a:gd name="T3" fmla="*/ 819 h 1984"/>
                <a:gd name="T4" fmla="*/ 387 w 2583"/>
                <a:gd name="T5" fmla="*/ 705 h 1984"/>
                <a:gd name="T6" fmla="*/ 513 w 2583"/>
                <a:gd name="T7" fmla="*/ 830 h 1984"/>
                <a:gd name="T8" fmla="*/ 554 w 2583"/>
                <a:gd name="T9" fmla="*/ 826 h 1984"/>
                <a:gd name="T10" fmla="*/ 616 w 2583"/>
                <a:gd name="T11" fmla="*/ 929 h 1984"/>
                <a:gd name="T12" fmla="*/ 349 w 2583"/>
                <a:gd name="T13" fmla="*/ 898 h 1984"/>
                <a:gd name="T14" fmla="*/ 119 w 2583"/>
                <a:gd name="T15" fmla="*/ 904 h 1984"/>
                <a:gd name="T16" fmla="*/ 6 w 2583"/>
                <a:gd name="T17" fmla="*/ 1221 h 1984"/>
                <a:gd name="T18" fmla="*/ 192 w 2583"/>
                <a:gd name="T19" fmla="*/ 1355 h 1984"/>
                <a:gd name="T20" fmla="*/ 333 w 2583"/>
                <a:gd name="T21" fmla="*/ 1461 h 1984"/>
                <a:gd name="T22" fmla="*/ 398 w 2583"/>
                <a:gd name="T23" fmla="*/ 1784 h 1984"/>
                <a:gd name="T24" fmla="*/ 577 w 2583"/>
                <a:gd name="T25" fmla="*/ 1940 h 1984"/>
                <a:gd name="T26" fmla="*/ 720 w 2583"/>
                <a:gd name="T27" fmla="*/ 1597 h 1984"/>
                <a:gd name="T28" fmla="*/ 816 w 2583"/>
                <a:gd name="T29" fmla="*/ 1363 h 1984"/>
                <a:gd name="T30" fmla="*/ 722 w 2583"/>
                <a:gd name="T31" fmla="*/ 1188 h 1984"/>
                <a:gd name="T32" fmla="*/ 687 w 2583"/>
                <a:gd name="T33" fmla="*/ 1036 h 1984"/>
                <a:gd name="T34" fmla="*/ 869 w 2583"/>
                <a:gd name="T35" fmla="*/ 1178 h 1984"/>
                <a:gd name="T36" fmla="*/ 856 w 2583"/>
                <a:gd name="T37" fmla="*/ 1024 h 1984"/>
                <a:gd name="T38" fmla="*/ 934 w 2583"/>
                <a:gd name="T39" fmla="*/ 1025 h 1984"/>
                <a:gd name="T40" fmla="*/ 1127 w 2583"/>
                <a:gd name="T41" fmla="*/ 1115 h 1984"/>
                <a:gd name="T42" fmla="*/ 1224 w 2583"/>
                <a:gd name="T43" fmla="*/ 1192 h 1984"/>
                <a:gd name="T44" fmla="*/ 1389 w 2583"/>
                <a:gd name="T45" fmla="*/ 1141 h 1984"/>
                <a:gd name="T46" fmla="*/ 1482 w 2583"/>
                <a:gd name="T47" fmla="*/ 1392 h 1984"/>
                <a:gd name="T48" fmla="*/ 1526 w 2583"/>
                <a:gd name="T49" fmla="*/ 1299 h 1984"/>
                <a:gd name="T50" fmla="*/ 1552 w 2583"/>
                <a:gd name="T51" fmla="*/ 1111 h 1984"/>
                <a:gd name="T52" fmla="*/ 1728 w 2583"/>
                <a:gd name="T53" fmla="*/ 991 h 1984"/>
                <a:gd name="T54" fmla="*/ 1685 w 2583"/>
                <a:gd name="T55" fmla="*/ 808 h 1984"/>
                <a:gd name="T56" fmla="*/ 1798 w 2583"/>
                <a:gd name="T57" fmla="*/ 870 h 1984"/>
                <a:gd name="T58" fmla="*/ 1908 w 2583"/>
                <a:gd name="T59" fmla="*/ 719 h 1984"/>
                <a:gd name="T60" fmla="*/ 1933 w 2583"/>
                <a:gd name="T61" fmla="*/ 551 h 1984"/>
                <a:gd name="T62" fmla="*/ 2064 w 2583"/>
                <a:gd name="T63" fmla="*/ 428 h 1984"/>
                <a:gd name="T64" fmla="*/ 2205 w 2583"/>
                <a:gd name="T65" fmla="*/ 369 h 1984"/>
                <a:gd name="T66" fmla="*/ 2196 w 2583"/>
                <a:gd name="T67" fmla="*/ 452 h 1984"/>
                <a:gd name="T68" fmla="*/ 2251 w 2583"/>
                <a:gd name="T69" fmla="*/ 457 h 1984"/>
                <a:gd name="T70" fmla="*/ 2441 w 2583"/>
                <a:gd name="T71" fmla="*/ 361 h 1984"/>
                <a:gd name="T72" fmla="*/ 2559 w 2583"/>
                <a:gd name="T73" fmla="*/ 325 h 1984"/>
                <a:gd name="T74" fmla="*/ 2450 w 2583"/>
                <a:gd name="T75" fmla="*/ 207 h 1984"/>
                <a:gd name="T76" fmla="*/ 2217 w 2583"/>
                <a:gd name="T77" fmla="*/ 199 h 1984"/>
                <a:gd name="T78" fmla="*/ 2030 w 2583"/>
                <a:gd name="T79" fmla="*/ 164 h 1984"/>
                <a:gd name="T80" fmla="*/ 1909 w 2583"/>
                <a:gd name="T81" fmla="*/ 155 h 1984"/>
                <a:gd name="T82" fmla="*/ 1790 w 2583"/>
                <a:gd name="T83" fmla="*/ 135 h 1984"/>
                <a:gd name="T84" fmla="*/ 1669 w 2583"/>
                <a:gd name="T85" fmla="*/ 98 h 1984"/>
                <a:gd name="T86" fmla="*/ 1629 w 2583"/>
                <a:gd name="T87" fmla="*/ 59 h 1984"/>
                <a:gd name="T88" fmla="*/ 1420 w 2583"/>
                <a:gd name="T89" fmla="*/ 56 h 1984"/>
                <a:gd name="T90" fmla="*/ 1233 w 2583"/>
                <a:gd name="T91" fmla="*/ 126 h 1984"/>
                <a:gd name="T92" fmla="*/ 1198 w 2583"/>
                <a:gd name="T93" fmla="*/ 154 h 1984"/>
                <a:gd name="T94" fmla="*/ 1193 w 2583"/>
                <a:gd name="T95" fmla="*/ 246 h 1984"/>
                <a:gd name="T96" fmla="*/ 1137 w 2583"/>
                <a:gd name="T97" fmla="*/ 229 h 1984"/>
                <a:gd name="T98" fmla="*/ 1043 w 2583"/>
                <a:gd name="T99" fmla="*/ 212 h 1984"/>
                <a:gd name="T100" fmla="*/ 888 w 2583"/>
                <a:gd name="T101" fmla="*/ 218 h 1984"/>
                <a:gd name="T102" fmla="*/ 719 w 2583"/>
                <a:gd name="T103" fmla="*/ 292 h 1984"/>
                <a:gd name="T104" fmla="*/ 726 w 2583"/>
                <a:gd name="T105" fmla="*/ 242 h 1984"/>
                <a:gd name="T106" fmla="*/ 580 w 2583"/>
                <a:gd name="T107" fmla="*/ 163 h 1984"/>
                <a:gd name="T108" fmla="*/ 469 w 2583"/>
                <a:gd name="T109" fmla="*/ 192 h 1984"/>
                <a:gd name="T110" fmla="*/ 382 w 2583"/>
                <a:gd name="T111" fmla="*/ 296 h 1984"/>
                <a:gd name="T112" fmla="*/ 283 w 2583"/>
                <a:gd name="T113" fmla="*/ 387 h 1984"/>
                <a:gd name="T114" fmla="*/ 377 w 2583"/>
                <a:gd name="T115" fmla="*/ 496 h 1984"/>
                <a:gd name="T116" fmla="*/ 458 w 2583"/>
                <a:gd name="T117" fmla="*/ 331 h 1984"/>
                <a:gd name="T118" fmla="*/ 515 w 2583"/>
                <a:gd name="T119" fmla="*/ 402 h 1984"/>
                <a:gd name="T120" fmla="*/ 484 w 2583"/>
                <a:gd name="T121" fmla="*/ 488 h 1984"/>
                <a:gd name="T122" fmla="*/ 349 w 2583"/>
                <a:gd name="T123" fmla="*/ 483 h 1984"/>
                <a:gd name="T124" fmla="*/ 314 w 2583"/>
                <a:gd name="T125" fmla="*/ 548 h 198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583"/>
                <a:gd name="T190" fmla="*/ 0 h 1984"/>
                <a:gd name="T191" fmla="*/ 2583 w 2583"/>
                <a:gd name="T192" fmla="*/ 1984 h 198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583" h="1984">
                  <a:moveTo>
                    <a:pt x="203" y="731"/>
                  </a:moveTo>
                  <a:lnTo>
                    <a:pt x="198" y="731"/>
                  </a:lnTo>
                  <a:lnTo>
                    <a:pt x="192" y="731"/>
                  </a:lnTo>
                  <a:lnTo>
                    <a:pt x="187" y="731"/>
                  </a:lnTo>
                  <a:lnTo>
                    <a:pt x="181" y="730"/>
                  </a:lnTo>
                  <a:lnTo>
                    <a:pt x="170" y="728"/>
                  </a:lnTo>
                  <a:lnTo>
                    <a:pt x="159" y="727"/>
                  </a:lnTo>
                  <a:lnTo>
                    <a:pt x="152" y="727"/>
                  </a:lnTo>
                  <a:lnTo>
                    <a:pt x="145" y="728"/>
                  </a:lnTo>
                  <a:lnTo>
                    <a:pt x="139" y="728"/>
                  </a:lnTo>
                  <a:lnTo>
                    <a:pt x="132" y="727"/>
                  </a:lnTo>
                  <a:lnTo>
                    <a:pt x="130" y="725"/>
                  </a:lnTo>
                  <a:lnTo>
                    <a:pt x="128" y="724"/>
                  </a:lnTo>
                  <a:lnTo>
                    <a:pt x="126" y="723"/>
                  </a:lnTo>
                  <a:lnTo>
                    <a:pt x="124" y="724"/>
                  </a:lnTo>
                  <a:lnTo>
                    <a:pt x="123" y="725"/>
                  </a:lnTo>
                  <a:lnTo>
                    <a:pt x="120" y="727"/>
                  </a:lnTo>
                  <a:lnTo>
                    <a:pt x="117" y="731"/>
                  </a:lnTo>
                  <a:lnTo>
                    <a:pt x="116" y="731"/>
                  </a:lnTo>
                  <a:lnTo>
                    <a:pt x="114" y="731"/>
                  </a:lnTo>
                  <a:lnTo>
                    <a:pt x="112" y="731"/>
                  </a:lnTo>
                  <a:lnTo>
                    <a:pt x="109" y="731"/>
                  </a:lnTo>
                  <a:lnTo>
                    <a:pt x="107" y="731"/>
                  </a:lnTo>
                  <a:lnTo>
                    <a:pt x="106" y="732"/>
                  </a:lnTo>
                  <a:lnTo>
                    <a:pt x="104" y="734"/>
                  </a:lnTo>
                  <a:lnTo>
                    <a:pt x="101" y="737"/>
                  </a:lnTo>
                  <a:lnTo>
                    <a:pt x="106" y="744"/>
                  </a:lnTo>
                  <a:lnTo>
                    <a:pt x="107" y="747"/>
                  </a:lnTo>
                  <a:lnTo>
                    <a:pt x="107" y="750"/>
                  </a:lnTo>
                  <a:lnTo>
                    <a:pt x="107" y="753"/>
                  </a:lnTo>
                  <a:lnTo>
                    <a:pt x="107" y="756"/>
                  </a:lnTo>
                  <a:lnTo>
                    <a:pt x="108" y="761"/>
                  </a:lnTo>
                  <a:lnTo>
                    <a:pt x="110" y="767"/>
                  </a:lnTo>
                  <a:lnTo>
                    <a:pt x="111" y="774"/>
                  </a:lnTo>
                  <a:lnTo>
                    <a:pt x="111" y="777"/>
                  </a:lnTo>
                  <a:lnTo>
                    <a:pt x="111" y="781"/>
                  </a:lnTo>
                  <a:lnTo>
                    <a:pt x="107" y="783"/>
                  </a:lnTo>
                  <a:lnTo>
                    <a:pt x="105" y="791"/>
                  </a:lnTo>
                  <a:lnTo>
                    <a:pt x="103" y="798"/>
                  </a:lnTo>
                  <a:lnTo>
                    <a:pt x="101" y="798"/>
                  </a:lnTo>
                  <a:lnTo>
                    <a:pt x="101" y="801"/>
                  </a:lnTo>
                  <a:lnTo>
                    <a:pt x="101" y="804"/>
                  </a:lnTo>
                  <a:lnTo>
                    <a:pt x="101" y="810"/>
                  </a:lnTo>
                  <a:lnTo>
                    <a:pt x="105" y="808"/>
                  </a:lnTo>
                  <a:lnTo>
                    <a:pt x="105" y="810"/>
                  </a:lnTo>
                  <a:lnTo>
                    <a:pt x="104" y="812"/>
                  </a:lnTo>
                  <a:lnTo>
                    <a:pt x="103" y="813"/>
                  </a:lnTo>
                  <a:lnTo>
                    <a:pt x="103" y="815"/>
                  </a:lnTo>
                  <a:lnTo>
                    <a:pt x="107" y="819"/>
                  </a:lnTo>
                  <a:lnTo>
                    <a:pt x="108" y="822"/>
                  </a:lnTo>
                  <a:lnTo>
                    <a:pt x="108" y="824"/>
                  </a:lnTo>
                  <a:lnTo>
                    <a:pt x="107" y="829"/>
                  </a:lnTo>
                  <a:lnTo>
                    <a:pt x="105" y="839"/>
                  </a:lnTo>
                  <a:lnTo>
                    <a:pt x="111" y="839"/>
                  </a:lnTo>
                  <a:lnTo>
                    <a:pt x="118" y="839"/>
                  </a:lnTo>
                  <a:lnTo>
                    <a:pt x="125" y="838"/>
                  </a:lnTo>
                  <a:lnTo>
                    <a:pt x="132" y="837"/>
                  </a:lnTo>
                  <a:lnTo>
                    <a:pt x="138" y="845"/>
                  </a:lnTo>
                  <a:lnTo>
                    <a:pt x="144" y="854"/>
                  </a:lnTo>
                  <a:lnTo>
                    <a:pt x="152" y="852"/>
                  </a:lnTo>
                  <a:lnTo>
                    <a:pt x="156" y="851"/>
                  </a:lnTo>
                  <a:lnTo>
                    <a:pt x="161" y="850"/>
                  </a:lnTo>
                  <a:lnTo>
                    <a:pt x="163" y="846"/>
                  </a:lnTo>
                  <a:lnTo>
                    <a:pt x="166" y="846"/>
                  </a:lnTo>
                  <a:lnTo>
                    <a:pt x="169" y="846"/>
                  </a:lnTo>
                  <a:lnTo>
                    <a:pt x="175" y="848"/>
                  </a:lnTo>
                  <a:lnTo>
                    <a:pt x="181" y="848"/>
                  </a:lnTo>
                  <a:lnTo>
                    <a:pt x="184" y="848"/>
                  </a:lnTo>
                  <a:lnTo>
                    <a:pt x="188" y="846"/>
                  </a:lnTo>
                  <a:lnTo>
                    <a:pt x="188" y="844"/>
                  </a:lnTo>
                  <a:lnTo>
                    <a:pt x="189" y="843"/>
                  </a:lnTo>
                  <a:lnTo>
                    <a:pt x="190" y="842"/>
                  </a:lnTo>
                  <a:lnTo>
                    <a:pt x="192" y="839"/>
                  </a:lnTo>
                  <a:lnTo>
                    <a:pt x="193" y="835"/>
                  </a:lnTo>
                  <a:lnTo>
                    <a:pt x="195" y="833"/>
                  </a:lnTo>
                  <a:lnTo>
                    <a:pt x="197" y="832"/>
                  </a:lnTo>
                  <a:lnTo>
                    <a:pt x="199" y="831"/>
                  </a:lnTo>
                  <a:lnTo>
                    <a:pt x="202" y="830"/>
                  </a:lnTo>
                  <a:lnTo>
                    <a:pt x="206" y="829"/>
                  </a:lnTo>
                  <a:lnTo>
                    <a:pt x="208" y="828"/>
                  </a:lnTo>
                  <a:lnTo>
                    <a:pt x="209" y="827"/>
                  </a:lnTo>
                  <a:lnTo>
                    <a:pt x="209" y="825"/>
                  </a:lnTo>
                  <a:lnTo>
                    <a:pt x="209" y="823"/>
                  </a:lnTo>
                  <a:lnTo>
                    <a:pt x="209" y="821"/>
                  </a:lnTo>
                  <a:lnTo>
                    <a:pt x="209" y="819"/>
                  </a:lnTo>
                  <a:lnTo>
                    <a:pt x="213" y="814"/>
                  </a:lnTo>
                  <a:lnTo>
                    <a:pt x="218" y="810"/>
                  </a:lnTo>
                  <a:lnTo>
                    <a:pt x="220" y="808"/>
                  </a:lnTo>
                  <a:lnTo>
                    <a:pt x="220" y="806"/>
                  </a:lnTo>
                  <a:lnTo>
                    <a:pt x="220" y="804"/>
                  </a:lnTo>
                  <a:lnTo>
                    <a:pt x="218" y="802"/>
                  </a:lnTo>
                  <a:lnTo>
                    <a:pt x="217" y="801"/>
                  </a:lnTo>
                  <a:lnTo>
                    <a:pt x="216" y="799"/>
                  </a:lnTo>
                  <a:lnTo>
                    <a:pt x="216" y="797"/>
                  </a:lnTo>
                  <a:lnTo>
                    <a:pt x="217" y="794"/>
                  </a:lnTo>
                  <a:lnTo>
                    <a:pt x="217" y="793"/>
                  </a:lnTo>
                  <a:lnTo>
                    <a:pt x="219" y="792"/>
                  </a:lnTo>
                  <a:lnTo>
                    <a:pt x="222" y="791"/>
                  </a:lnTo>
                  <a:lnTo>
                    <a:pt x="226" y="784"/>
                  </a:lnTo>
                  <a:lnTo>
                    <a:pt x="230" y="778"/>
                  </a:lnTo>
                  <a:lnTo>
                    <a:pt x="234" y="772"/>
                  </a:lnTo>
                  <a:lnTo>
                    <a:pt x="237" y="770"/>
                  </a:lnTo>
                  <a:lnTo>
                    <a:pt x="240" y="767"/>
                  </a:lnTo>
                  <a:lnTo>
                    <a:pt x="244" y="765"/>
                  </a:lnTo>
                  <a:lnTo>
                    <a:pt x="250" y="763"/>
                  </a:lnTo>
                  <a:lnTo>
                    <a:pt x="253" y="762"/>
                  </a:lnTo>
                  <a:lnTo>
                    <a:pt x="256" y="761"/>
                  </a:lnTo>
                  <a:lnTo>
                    <a:pt x="258" y="759"/>
                  </a:lnTo>
                  <a:lnTo>
                    <a:pt x="259" y="758"/>
                  </a:lnTo>
                  <a:lnTo>
                    <a:pt x="259" y="755"/>
                  </a:lnTo>
                  <a:lnTo>
                    <a:pt x="259" y="751"/>
                  </a:lnTo>
                  <a:lnTo>
                    <a:pt x="258" y="744"/>
                  </a:lnTo>
                  <a:lnTo>
                    <a:pt x="258" y="740"/>
                  </a:lnTo>
                  <a:lnTo>
                    <a:pt x="259" y="737"/>
                  </a:lnTo>
                  <a:lnTo>
                    <a:pt x="260" y="736"/>
                  </a:lnTo>
                  <a:lnTo>
                    <a:pt x="261" y="734"/>
                  </a:lnTo>
                  <a:lnTo>
                    <a:pt x="263" y="733"/>
                  </a:lnTo>
                  <a:lnTo>
                    <a:pt x="265" y="731"/>
                  </a:lnTo>
                  <a:lnTo>
                    <a:pt x="267" y="731"/>
                  </a:lnTo>
                  <a:lnTo>
                    <a:pt x="269" y="730"/>
                  </a:lnTo>
                  <a:lnTo>
                    <a:pt x="271" y="729"/>
                  </a:lnTo>
                  <a:lnTo>
                    <a:pt x="274" y="729"/>
                  </a:lnTo>
                  <a:lnTo>
                    <a:pt x="277" y="730"/>
                  </a:lnTo>
                  <a:lnTo>
                    <a:pt x="280" y="731"/>
                  </a:lnTo>
                  <a:lnTo>
                    <a:pt x="285" y="734"/>
                  </a:lnTo>
                  <a:lnTo>
                    <a:pt x="292" y="737"/>
                  </a:lnTo>
                  <a:lnTo>
                    <a:pt x="295" y="737"/>
                  </a:lnTo>
                  <a:lnTo>
                    <a:pt x="299" y="737"/>
                  </a:lnTo>
                  <a:lnTo>
                    <a:pt x="300" y="736"/>
                  </a:lnTo>
                  <a:lnTo>
                    <a:pt x="301" y="735"/>
                  </a:lnTo>
                  <a:lnTo>
                    <a:pt x="304" y="731"/>
                  </a:lnTo>
                  <a:lnTo>
                    <a:pt x="305" y="729"/>
                  </a:lnTo>
                  <a:lnTo>
                    <a:pt x="306" y="728"/>
                  </a:lnTo>
                  <a:lnTo>
                    <a:pt x="307" y="727"/>
                  </a:lnTo>
                  <a:lnTo>
                    <a:pt x="310" y="726"/>
                  </a:lnTo>
                  <a:lnTo>
                    <a:pt x="312" y="726"/>
                  </a:lnTo>
                  <a:lnTo>
                    <a:pt x="315" y="726"/>
                  </a:lnTo>
                  <a:lnTo>
                    <a:pt x="318" y="725"/>
                  </a:lnTo>
                  <a:lnTo>
                    <a:pt x="319" y="724"/>
                  </a:lnTo>
                  <a:lnTo>
                    <a:pt x="320" y="723"/>
                  </a:lnTo>
                  <a:lnTo>
                    <a:pt x="321" y="720"/>
                  </a:lnTo>
                  <a:lnTo>
                    <a:pt x="322" y="718"/>
                  </a:lnTo>
                  <a:lnTo>
                    <a:pt x="323" y="716"/>
                  </a:lnTo>
                  <a:lnTo>
                    <a:pt x="324" y="716"/>
                  </a:lnTo>
                  <a:lnTo>
                    <a:pt x="324" y="714"/>
                  </a:lnTo>
                  <a:lnTo>
                    <a:pt x="326" y="714"/>
                  </a:lnTo>
                  <a:lnTo>
                    <a:pt x="328" y="714"/>
                  </a:lnTo>
                  <a:lnTo>
                    <a:pt x="330" y="714"/>
                  </a:lnTo>
                  <a:lnTo>
                    <a:pt x="332" y="714"/>
                  </a:lnTo>
                  <a:lnTo>
                    <a:pt x="335" y="716"/>
                  </a:lnTo>
                  <a:lnTo>
                    <a:pt x="338" y="718"/>
                  </a:lnTo>
                  <a:lnTo>
                    <a:pt x="343" y="723"/>
                  </a:lnTo>
                  <a:lnTo>
                    <a:pt x="346" y="729"/>
                  </a:lnTo>
                  <a:lnTo>
                    <a:pt x="349" y="735"/>
                  </a:lnTo>
                  <a:lnTo>
                    <a:pt x="355" y="747"/>
                  </a:lnTo>
                  <a:lnTo>
                    <a:pt x="359" y="752"/>
                  </a:lnTo>
                  <a:lnTo>
                    <a:pt x="361" y="755"/>
                  </a:lnTo>
                  <a:lnTo>
                    <a:pt x="363" y="758"/>
                  </a:lnTo>
                  <a:lnTo>
                    <a:pt x="367" y="758"/>
                  </a:lnTo>
                  <a:lnTo>
                    <a:pt x="374" y="765"/>
                  </a:lnTo>
                  <a:lnTo>
                    <a:pt x="379" y="770"/>
                  </a:lnTo>
                  <a:lnTo>
                    <a:pt x="383" y="773"/>
                  </a:lnTo>
                  <a:lnTo>
                    <a:pt x="387" y="775"/>
                  </a:lnTo>
                  <a:lnTo>
                    <a:pt x="391" y="776"/>
                  </a:lnTo>
                  <a:lnTo>
                    <a:pt x="394" y="777"/>
                  </a:lnTo>
                  <a:lnTo>
                    <a:pt x="396" y="778"/>
                  </a:lnTo>
                  <a:lnTo>
                    <a:pt x="398" y="779"/>
                  </a:lnTo>
                  <a:lnTo>
                    <a:pt x="398" y="783"/>
                  </a:lnTo>
                  <a:lnTo>
                    <a:pt x="400" y="783"/>
                  </a:lnTo>
                  <a:lnTo>
                    <a:pt x="401" y="783"/>
                  </a:lnTo>
                  <a:lnTo>
                    <a:pt x="403" y="784"/>
                  </a:lnTo>
                  <a:lnTo>
                    <a:pt x="404" y="785"/>
                  </a:lnTo>
                  <a:lnTo>
                    <a:pt x="404" y="786"/>
                  </a:lnTo>
                  <a:lnTo>
                    <a:pt x="404" y="788"/>
                  </a:lnTo>
                  <a:lnTo>
                    <a:pt x="403" y="789"/>
                  </a:lnTo>
                  <a:lnTo>
                    <a:pt x="404" y="791"/>
                  </a:lnTo>
                  <a:lnTo>
                    <a:pt x="405" y="791"/>
                  </a:lnTo>
                  <a:lnTo>
                    <a:pt x="407" y="792"/>
                  </a:lnTo>
                  <a:lnTo>
                    <a:pt x="410" y="793"/>
                  </a:lnTo>
                  <a:lnTo>
                    <a:pt x="413" y="794"/>
                  </a:lnTo>
                  <a:lnTo>
                    <a:pt x="414" y="795"/>
                  </a:lnTo>
                  <a:lnTo>
                    <a:pt x="415" y="796"/>
                  </a:lnTo>
                  <a:lnTo>
                    <a:pt x="417" y="801"/>
                  </a:lnTo>
                  <a:lnTo>
                    <a:pt x="418" y="808"/>
                  </a:lnTo>
                  <a:lnTo>
                    <a:pt x="418" y="812"/>
                  </a:lnTo>
                  <a:lnTo>
                    <a:pt x="417" y="814"/>
                  </a:lnTo>
                  <a:lnTo>
                    <a:pt x="417" y="816"/>
                  </a:lnTo>
                  <a:lnTo>
                    <a:pt x="416" y="816"/>
                  </a:lnTo>
                  <a:lnTo>
                    <a:pt x="415" y="815"/>
                  </a:lnTo>
                  <a:lnTo>
                    <a:pt x="414" y="819"/>
                  </a:lnTo>
                  <a:lnTo>
                    <a:pt x="414" y="821"/>
                  </a:lnTo>
                  <a:lnTo>
                    <a:pt x="413" y="827"/>
                  </a:lnTo>
                  <a:lnTo>
                    <a:pt x="404" y="828"/>
                  </a:lnTo>
                  <a:lnTo>
                    <a:pt x="393" y="828"/>
                  </a:lnTo>
                  <a:lnTo>
                    <a:pt x="375" y="827"/>
                  </a:lnTo>
                  <a:lnTo>
                    <a:pt x="376" y="828"/>
                  </a:lnTo>
                  <a:lnTo>
                    <a:pt x="376" y="830"/>
                  </a:lnTo>
                  <a:lnTo>
                    <a:pt x="376" y="832"/>
                  </a:lnTo>
                  <a:lnTo>
                    <a:pt x="377" y="833"/>
                  </a:lnTo>
                  <a:lnTo>
                    <a:pt x="384" y="837"/>
                  </a:lnTo>
                  <a:lnTo>
                    <a:pt x="391" y="841"/>
                  </a:lnTo>
                  <a:lnTo>
                    <a:pt x="406" y="848"/>
                  </a:lnTo>
                  <a:lnTo>
                    <a:pt x="407" y="843"/>
                  </a:lnTo>
                  <a:lnTo>
                    <a:pt x="408" y="837"/>
                  </a:lnTo>
                  <a:lnTo>
                    <a:pt x="408" y="832"/>
                  </a:lnTo>
                  <a:lnTo>
                    <a:pt x="408" y="833"/>
                  </a:lnTo>
                  <a:lnTo>
                    <a:pt x="408" y="829"/>
                  </a:lnTo>
                  <a:lnTo>
                    <a:pt x="410" y="829"/>
                  </a:lnTo>
                  <a:lnTo>
                    <a:pt x="413" y="829"/>
                  </a:lnTo>
                  <a:lnTo>
                    <a:pt x="419" y="831"/>
                  </a:lnTo>
                  <a:lnTo>
                    <a:pt x="422" y="826"/>
                  </a:lnTo>
                  <a:lnTo>
                    <a:pt x="427" y="818"/>
                  </a:lnTo>
                  <a:lnTo>
                    <a:pt x="429" y="814"/>
                  </a:lnTo>
                  <a:lnTo>
                    <a:pt x="430" y="810"/>
                  </a:lnTo>
                  <a:lnTo>
                    <a:pt x="431" y="807"/>
                  </a:lnTo>
                  <a:lnTo>
                    <a:pt x="431" y="804"/>
                  </a:lnTo>
                  <a:lnTo>
                    <a:pt x="430" y="803"/>
                  </a:lnTo>
                  <a:lnTo>
                    <a:pt x="428" y="801"/>
                  </a:lnTo>
                  <a:lnTo>
                    <a:pt x="426" y="800"/>
                  </a:lnTo>
                  <a:lnTo>
                    <a:pt x="425" y="798"/>
                  </a:lnTo>
                  <a:lnTo>
                    <a:pt x="424" y="795"/>
                  </a:lnTo>
                  <a:lnTo>
                    <a:pt x="425" y="792"/>
                  </a:lnTo>
                  <a:lnTo>
                    <a:pt x="426" y="789"/>
                  </a:lnTo>
                  <a:lnTo>
                    <a:pt x="428" y="787"/>
                  </a:lnTo>
                  <a:lnTo>
                    <a:pt x="430" y="786"/>
                  </a:lnTo>
                  <a:lnTo>
                    <a:pt x="432" y="786"/>
                  </a:lnTo>
                  <a:lnTo>
                    <a:pt x="434" y="786"/>
                  </a:lnTo>
                  <a:lnTo>
                    <a:pt x="437" y="788"/>
                  </a:lnTo>
                  <a:lnTo>
                    <a:pt x="442" y="791"/>
                  </a:lnTo>
                  <a:lnTo>
                    <a:pt x="442" y="794"/>
                  </a:lnTo>
                  <a:lnTo>
                    <a:pt x="444" y="794"/>
                  </a:lnTo>
                  <a:lnTo>
                    <a:pt x="445" y="793"/>
                  </a:lnTo>
                  <a:lnTo>
                    <a:pt x="445" y="791"/>
                  </a:lnTo>
                  <a:lnTo>
                    <a:pt x="445" y="789"/>
                  </a:lnTo>
                  <a:lnTo>
                    <a:pt x="442" y="784"/>
                  </a:lnTo>
                  <a:lnTo>
                    <a:pt x="440" y="781"/>
                  </a:lnTo>
                  <a:lnTo>
                    <a:pt x="436" y="777"/>
                  </a:lnTo>
                  <a:lnTo>
                    <a:pt x="431" y="773"/>
                  </a:lnTo>
                  <a:lnTo>
                    <a:pt x="429" y="773"/>
                  </a:lnTo>
                  <a:lnTo>
                    <a:pt x="428" y="773"/>
                  </a:lnTo>
                  <a:lnTo>
                    <a:pt x="425" y="773"/>
                  </a:lnTo>
                  <a:lnTo>
                    <a:pt x="424" y="771"/>
                  </a:lnTo>
                  <a:lnTo>
                    <a:pt x="422" y="770"/>
                  </a:lnTo>
                  <a:lnTo>
                    <a:pt x="419" y="767"/>
                  </a:lnTo>
                  <a:lnTo>
                    <a:pt x="420" y="767"/>
                  </a:lnTo>
                  <a:lnTo>
                    <a:pt x="420" y="766"/>
                  </a:lnTo>
                  <a:lnTo>
                    <a:pt x="420" y="764"/>
                  </a:lnTo>
                  <a:lnTo>
                    <a:pt x="419" y="760"/>
                  </a:lnTo>
                  <a:lnTo>
                    <a:pt x="410" y="759"/>
                  </a:lnTo>
                  <a:lnTo>
                    <a:pt x="404" y="757"/>
                  </a:lnTo>
                  <a:lnTo>
                    <a:pt x="401" y="755"/>
                  </a:lnTo>
                  <a:lnTo>
                    <a:pt x="398" y="754"/>
                  </a:lnTo>
                  <a:lnTo>
                    <a:pt x="396" y="751"/>
                  </a:lnTo>
                  <a:lnTo>
                    <a:pt x="394" y="748"/>
                  </a:lnTo>
                  <a:lnTo>
                    <a:pt x="393" y="747"/>
                  </a:lnTo>
                  <a:lnTo>
                    <a:pt x="393" y="745"/>
                  </a:lnTo>
                  <a:lnTo>
                    <a:pt x="392" y="742"/>
                  </a:lnTo>
                  <a:lnTo>
                    <a:pt x="392" y="738"/>
                  </a:lnTo>
                  <a:lnTo>
                    <a:pt x="390" y="735"/>
                  </a:lnTo>
                  <a:lnTo>
                    <a:pt x="389" y="733"/>
                  </a:lnTo>
                  <a:lnTo>
                    <a:pt x="386" y="730"/>
                  </a:lnTo>
                  <a:lnTo>
                    <a:pt x="381" y="726"/>
                  </a:lnTo>
                  <a:lnTo>
                    <a:pt x="375" y="722"/>
                  </a:lnTo>
                  <a:lnTo>
                    <a:pt x="369" y="719"/>
                  </a:lnTo>
                  <a:lnTo>
                    <a:pt x="369" y="718"/>
                  </a:lnTo>
                  <a:lnTo>
                    <a:pt x="369" y="716"/>
                  </a:lnTo>
                  <a:lnTo>
                    <a:pt x="369" y="712"/>
                  </a:lnTo>
                  <a:lnTo>
                    <a:pt x="372" y="707"/>
                  </a:lnTo>
                  <a:lnTo>
                    <a:pt x="375" y="702"/>
                  </a:lnTo>
                  <a:lnTo>
                    <a:pt x="373" y="701"/>
                  </a:lnTo>
                  <a:lnTo>
                    <a:pt x="372" y="700"/>
                  </a:lnTo>
                  <a:lnTo>
                    <a:pt x="371" y="700"/>
                  </a:lnTo>
                  <a:lnTo>
                    <a:pt x="371" y="696"/>
                  </a:lnTo>
                  <a:lnTo>
                    <a:pt x="376" y="695"/>
                  </a:lnTo>
                  <a:lnTo>
                    <a:pt x="380" y="694"/>
                  </a:lnTo>
                  <a:lnTo>
                    <a:pt x="384" y="694"/>
                  </a:lnTo>
                  <a:lnTo>
                    <a:pt x="388" y="693"/>
                  </a:lnTo>
                  <a:lnTo>
                    <a:pt x="387" y="694"/>
                  </a:lnTo>
                  <a:lnTo>
                    <a:pt x="386" y="696"/>
                  </a:lnTo>
                  <a:lnTo>
                    <a:pt x="386" y="698"/>
                  </a:lnTo>
                  <a:lnTo>
                    <a:pt x="386" y="699"/>
                  </a:lnTo>
                  <a:lnTo>
                    <a:pt x="387" y="700"/>
                  </a:lnTo>
                  <a:lnTo>
                    <a:pt x="388" y="701"/>
                  </a:lnTo>
                  <a:lnTo>
                    <a:pt x="388" y="702"/>
                  </a:lnTo>
                  <a:lnTo>
                    <a:pt x="387" y="705"/>
                  </a:lnTo>
                  <a:lnTo>
                    <a:pt x="387" y="707"/>
                  </a:lnTo>
                  <a:lnTo>
                    <a:pt x="387" y="709"/>
                  </a:lnTo>
                  <a:lnTo>
                    <a:pt x="387" y="710"/>
                  </a:lnTo>
                  <a:lnTo>
                    <a:pt x="388" y="712"/>
                  </a:lnTo>
                  <a:lnTo>
                    <a:pt x="392" y="711"/>
                  </a:lnTo>
                  <a:lnTo>
                    <a:pt x="393" y="710"/>
                  </a:lnTo>
                  <a:lnTo>
                    <a:pt x="394" y="710"/>
                  </a:lnTo>
                  <a:lnTo>
                    <a:pt x="393" y="709"/>
                  </a:lnTo>
                  <a:lnTo>
                    <a:pt x="392" y="708"/>
                  </a:lnTo>
                  <a:lnTo>
                    <a:pt x="393" y="707"/>
                  </a:lnTo>
                  <a:lnTo>
                    <a:pt x="395" y="707"/>
                  </a:lnTo>
                  <a:lnTo>
                    <a:pt x="398" y="706"/>
                  </a:lnTo>
                  <a:lnTo>
                    <a:pt x="399" y="701"/>
                  </a:lnTo>
                  <a:lnTo>
                    <a:pt x="400" y="698"/>
                  </a:lnTo>
                  <a:lnTo>
                    <a:pt x="400" y="700"/>
                  </a:lnTo>
                  <a:lnTo>
                    <a:pt x="401" y="701"/>
                  </a:lnTo>
                  <a:lnTo>
                    <a:pt x="404" y="702"/>
                  </a:lnTo>
                  <a:lnTo>
                    <a:pt x="402" y="708"/>
                  </a:lnTo>
                  <a:lnTo>
                    <a:pt x="401" y="711"/>
                  </a:lnTo>
                  <a:lnTo>
                    <a:pt x="402" y="712"/>
                  </a:lnTo>
                  <a:lnTo>
                    <a:pt x="402" y="714"/>
                  </a:lnTo>
                  <a:lnTo>
                    <a:pt x="410" y="719"/>
                  </a:lnTo>
                  <a:lnTo>
                    <a:pt x="410" y="721"/>
                  </a:lnTo>
                  <a:lnTo>
                    <a:pt x="409" y="722"/>
                  </a:lnTo>
                  <a:lnTo>
                    <a:pt x="408" y="723"/>
                  </a:lnTo>
                  <a:lnTo>
                    <a:pt x="408" y="724"/>
                  </a:lnTo>
                  <a:lnTo>
                    <a:pt x="408" y="725"/>
                  </a:lnTo>
                  <a:lnTo>
                    <a:pt x="419" y="733"/>
                  </a:lnTo>
                  <a:lnTo>
                    <a:pt x="421" y="733"/>
                  </a:lnTo>
                  <a:lnTo>
                    <a:pt x="423" y="733"/>
                  </a:lnTo>
                  <a:lnTo>
                    <a:pt x="425" y="733"/>
                  </a:lnTo>
                  <a:lnTo>
                    <a:pt x="426" y="733"/>
                  </a:lnTo>
                  <a:lnTo>
                    <a:pt x="427" y="733"/>
                  </a:lnTo>
                  <a:lnTo>
                    <a:pt x="429" y="735"/>
                  </a:lnTo>
                  <a:lnTo>
                    <a:pt x="431" y="738"/>
                  </a:lnTo>
                  <a:lnTo>
                    <a:pt x="432" y="740"/>
                  </a:lnTo>
                  <a:lnTo>
                    <a:pt x="434" y="743"/>
                  </a:lnTo>
                  <a:lnTo>
                    <a:pt x="437" y="744"/>
                  </a:lnTo>
                  <a:lnTo>
                    <a:pt x="440" y="744"/>
                  </a:lnTo>
                  <a:lnTo>
                    <a:pt x="443" y="745"/>
                  </a:lnTo>
                  <a:lnTo>
                    <a:pt x="446" y="746"/>
                  </a:lnTo>
                  <a:lnTo>
                    <a:pt x="447" y="747"/>
                  </a:lnTo>
                  <a:lnTo>
                    <a:pt x="447" y="749"/>
                  </a:lnTo>
                  <a:lnTo>
                    <a:pt x="447" y="751"/>
                  </a:lnTo>
                  <a:lnTo>
                    <a:pt x="448" y="752"/>
                  </a:lnTo>
                  <a:lnTo>
                    <a:pt x="460" y="757"/>
                  </a:lnTo>
                  <a:lnTo>
                    <a:pt x="461" y="759"/>
                  </a:lnTo>
                  <a:lnTo>
                    <a:pt x="462" y="761"/>
                  </a:lnTo>
                  <a:lnTo>
                    <a:pt x="463" y="764"/>
                  </a:lnTo>
                  <a:lnTo>
                    <a:pt x="463" y="767"/>
                  </a:lnTo>
                  <a:lnTo>
                    <a:pt x="462" y="771"/>
                  </a:lnTo>
                  <a:lnTo>
                    <a:pt x="460" y="778"/>
                  </a:lnTo>
                  <a:lnTo>
                    <a:pt x="459" y="782"/>
                  </a:lnTo>
                  <a:lnTo>
                    <a:pt x="459" y="785"/>
                  </a:lnTo>
                  <a:lnTo>
                    <a:pt x="471" y="801"/>
                  </a:lnTo>
                  <a:lnTo>
                    <a:pt x="479" y="810"/>
                  </a:lnTo>
                  <a:lnTo>
                    <a:pt x="479" y="812"/>
                  </a:lnTo>
                  <a:lnTo>
                    <a:pt x="480" y="812"/>
                  </a:lnTo>
                  <a:lnTo>
                    <a:pt x="482" y="811"/>
                  </a:lnTo>
                  <a:lnTo>
                    <a:pt x="483" y="811"/>
                  </a:lnTo>
                  <a:lnTo>
                    <a:pt x="484" y="811"/>
                  </a:lnTo>
                  <a:lnTo>
                    <a:pt x="484" y="812"/>
                  </a:lnTo>
                  <a:lnTo>
                    <a:pt x="484" y="814"/>
                  </a:lnTo>
                  <a:lnTo>
                    <a:pt x="482" y="814"/>
                  </a:lnTo>
                  <a:lnTo>
                    <a:pt x="483" y="820"/>
                  </a:lnTo>
                  <a:lnTo>
                    <a:pt x="482" y="825"/>
                  </a:lnTo>
                  <a:lnTo>
                    <a:pt x="484" y="824"/>
                  </a:lnTo>
                  <a:lnTo>
                    <a:pt x="485" y="823"/>
                  </a:lnTo>
                  <a:lnTo>
                    <a:pt x="486" y="821"/>
                  </a:lnTo>
                  <a:lnTo>
                    <a:pt x="490" y="821"/>
                  </a:lnTo>
                  <a:lnTo>
                    <a:pt x="492" y="821"/>
                  </a:lnTo>
                  <a:lnTo>
                    <a:pt x="495" y="822"/>
                  </a:lnTo>
                  <a:lnTo>
                    <a:pt x="498" y="823"/>
                  </a:lnTo>
                  <a:lnTo>
                    <a:pt x="502" y="826"/>
                  </a:lnTo>
                  <a:lnTo>
                    <a:pt x="505" y="829"/>
                  </a:lnTo>
                  <a:lnTo>
                    <a:pt x="500" y="827"/>
                  </a:lnTo>
                  <a:lnTo>
                    <a:pt x="495" y="827"/>
                  </a:lnTo>
                  <a:lnTo>
                    <a:pt x="486" y="827"/>
                  </a:lnTo>
                  <a:lnTo>
                    <a:pt x="489" y="836"/>
                  </a:lnTo>
                  <a:lnTo>
                    <a:pt x="490" y="840"/>
                  </a:lnTo>
                  <a:lnTo>
                    <a:pt x="490" y="844"/>
                  </a:lnTo>
                  <a:lnTo>
                    <a:pt x="505" y="844"/>
                  </a:lnTo>
                  <a:lnTo>
                    <a:pt x="504" y="842"/>
                  </a:lnTo>
                  <a:lnTo>
                    <a:pt x="503" y="840"/>
                  </a:lnTo>
                  <a:lnTo>
                    <a:pt x="503" y="839"/>
                  </a:lnTo>
                  <a:lnTo>
                    <a:pt x="504" y="839"/>
                  </a:lnTo>
                  <a:lnTo>
                    <a:pt x="506" y="838"/>
                  </a:lnTo>
                  <a:lnTo>
                    <a:pt x="508" y="839"/>
                  </a:lnTo>
                  <a:lnTo>
                    <a:pt x="511" y="839"/>
                  </a:lnTo>
                  <a:lnTo>
                    <a:pt x="513" y="839"/>
                  </a:lnTo>
                  <a:lnTo>
                    <a:pt x="511" y="833"/>
                  </a:lnTo>
                  <a:lnTo>
                    <a:pt x="509" y="833"/>
                  </a:lnTo>
                  <a:lnTo>
                    <a:pt x="508" y="832"/>
                  </a:lnTo>
                  <a:lnTo>
                    <a:pt x="509" y="831"/>
                  </a:lnTo>
                  <a:lnTo>
                    <a:pt x="513" y="830"/>
                  </a:lnTo>
                  <a:lnTo>
                    <a:pt x="514" y="830"/>
                  </a:lnTo>
                  <a:lnTo>
                    <a:pt x="515" y="830"/>
                  </a:lnTo>
                  <a:lnTo>
                    <a:pt x="517" y="831"/>
                  </a:lnTo>
                  <a:lnTo>
                    <a:pt x="519" y="832"/>
                  </a:lnTo>
                  <a:lnTo>
                    <a:pt x="521" y="833"/>
                  </a:lnTo>
                  <a:lnTo>
                    <a:pt x="521" y="825"/>
                  </a:lnTo>
                  <a:lnTo>
                    <a:pt x="517" y="823"/>
                  </a:lnTo>
                  <a:lnTo>
                    <a:pt x="519" y="823"/>
                  </a:lnTo>
                  <a:lnTo>
                    <a:pt x="521" y="823"/>
                  </a:lnTo>
                  <a:lnTo>
                    <a:pt x="523" y="823"/>
                  </a:lnTo>
                  <a:lnTo>
                    <a:pt x="525" y="823"/>
                  </a:lnTo>
                  <a:lnTo>
                    <a:pt x="526" y="825"/>
                  </a:lnTo>
                  <a:lnTo>
                    <a:pt x="528" y="828"/>
                  </a:lnTo>
                  <a:lnTo>
                    <a:pt x="529" y="829"/>
                  </a:lnTo>
                  <a:lnTo>
                    <a:pt x="529" y="827"/>
                  </a:lnTo>
                  <a:lnTo>
                    <a:pt x="528" y="823"/>
                  </a:lnTo>
                  <a:lnTo>
                    <a:pt x="528" y="821"/>
                  </a:lnTo>
                  <a:lnTo>
                    <a:pt x="527" y="819"/>
                  </a:lnTo>
                  <a:lnTo>
                    <a:pt x="526" y="819"/>
                  </a:lnTo>
                  <a:lnTo>
                    <a:pt x="525" y="819"/>
                  </a:lnTo>
                  <a:lnTo>
                    <a:pt x="523" y="818"/>
                  </a:lnTo>
                  <a:lnTo>
                    <a:pt x="521" y="818"/>
                  </a:lnTo>
                  <a:lnTo>
                    <a:pt x="519" y="817"/>
                  </a:lnTo>
                  <a:lnTo>
                    <a:pt x="518" y="816"/>
                  </a:lnTo>
                  <a:lnTo>
                    <a:pt x="516" y="813"/>
                  </a:lnTo>
                  <a:lnTo>
                    <a:pt x="515" y="811"/>
                  </a:lnTo>
                  <a:lnTo>
                    <a:pt x="513" y="810"/>
                  </a:lnTo>
                  <a:lnTo>
                    <a:pt x="511" y="810"/>
                  </a:lnTo>
                  <a:lnTo>
                    <a:pt x="510" y="811"/>
                  </a:lnTo>
                  <a:lnTo>
                    <a:pt x="509" y="812"/>
                  </a:lnTo>
                  <a:lnTo>
                    <a:pt x="507" y="812"/>
                  </a:lnTo>
                  <a:lnTo>
                    <a:pt x="507" y="811"/>
                  </a:lnTo>
                  <a:lnTo>
                    <a:pt x="507" y="810"/>
                  </a:lnTo>
                  <a:lnTo>
                    <a:pt x="507" y="809"/>
                  </a:lnTo>
                  <a:lnTo>
                    <a:pt x="505" y="808"/>
                  </a:lnTo>
                  <a:lnTo>
                    <a:pt x="505" y="804"/>
                  </a:lnTo>
                  <a:lnTo>
                    <a:pt x="509" y="804"/>
                  </a:lnTo>
                  <a:lnTo>
                    <a:pt x="510" y="804"/>
                  </a:lnTo>
                  <a:lnTo>
                    <a:pt x="511" y="803"/>
                  </a:lnTo>
                  <a:lnTo>
                    <a:pt x="510" y="801"/>
                  </a:lnTo>
                  <a:lnTo>
                    <a:pt x="507" y="797"/>
                  </a:lnTo>
                  <a:lnTo>
                    <a:pt x="504" y="792"/>
                  </a:lnTo>
                  <a:lnTo>
                    <a:pt x="502" y="789"/>
                  </a:lnTo>
                  <a:lnTo>
                    <a:pt x="506" y="782"/>
                  </a:lnTo>
                  <a:lnTo>
                    <a:pt x="507" y="780"/>
                  </a:lnTo>
                  <a:lnTo>
                    <a:pt x="508" y="780"/>
                  </a:lnTo>
                  <a:lnTo>
                    <a:pt x="508" y="781"/>
                  </a:lnTo>
                  <a:lnTo>
                    <a:pt x="507" y="785"/>
                  </a:lnTo>
                  <a:lnTo>
                    <a:pt x="510" y="786"/>
                  </a:lnTo>
                  <a:lnTo>
                    <a:pt x="510" y="787"/>
                  </a:lnTo>
                  <a:lnTo>
                    <a:pt x="510" y="788"/>
                  </a:lnTo>
                  <a:lnTo>
                    <a:pt x="511" y="791"/>
                  </a:lnTo>
                  <a:lnTo>
                    <a:pt x="513" y="790"/>
                  </a:lnTo>
                  <a:lnTo>
                    <a:pt x="513" y="789"/>
                  </a:lnTo>
                  <a:lnTo>
                    <a:pt x="513" y="787"/>
                  </a:lnTo>
                  <a:lnTo>
                    <a:pt x="520" y="786"/>
                  </a:lnTo>
                  <a:lnTo>
                    <a:pt x="522" y="786"/>
                  </a:lnTo>
                  <a:lnTo>
                    <a:pt x="523" y="785"/>
                  </a:lnTo>
                  <a:lnTo>
                    <a:pt x="523" y="784"/>
                  </a:lnTo>
                  <a:lnTo>
                    <a:pt x="522" y="782"/>
                  </a:lnTo>
                  <a:lnTo>
                    <a:pt x="517" y="775"/>
                  </a:lnTo>
                  <a:lnTo>
                    <a:pt x="526" y="776"/>
                  </a:lnTo>
                  <a:lnTo>
                    <a:pt x="532" y="776"/>
                  </a:lnTo>
                  <a:lnTo>
                    <a:pt x="546" y="775"/>
                  </a:lnTo>
                  <a:lnTo>
                    <a:pt x="547" y="778"/>
                  </a:lnTo>
                  <a:lnTo>
                    <a:pt x="548" y="781"/>
                  </a:lnTo>
                  <a:lnTo>
                    <a:pt x="548" y="783"/>
                  </a:lnTo>
                  <a:lnTo>
                    <a:pt x="549" y="786"/>
                  </a:lnTo>
                  <a:lnTo>
                    <a:pt x="550" y="787"/>
                  </a:lnTo>
                  <a:lnTo>
                    <a:pt x="553" y="785"/>
                  </a:lnTo>
                  <a:lnTo>
                    <a:pt x="557" y="783"/>
                  </a:lnTo>
                  <a:lnTo>
                    <a:pt x="553" y="788"/>
                  </a:lnTo>
                  <a:lnTo>
                    <a:pt x="550" y="792"/>
                  </a:lnTo>
                  <a:lnTo>
                    <a:pt x="549" y="792"/>
                  </a:lnTo>
                  <a:lnTo>
                    <a:pt x="548" y="792"/>
                  </a:lnTo>
                  <a:lnTo>
                    <a:pt x="548" y="795"/>
                  </a:lnTo>
                  <a:lnTo>
                    <a:pt x="548" y="800"/>
                  </a:lnTo>
                  <a:lnTo>
                    <a:pt x="552" y="801"/>
                  </a:lnTo>
                  <a:lnTo>
                    <a:pt x="555" y="802"/>
                  </a:lnTo>
                  <a:lnTo>
                    <a:pt x="556" y="804"/>
                  </a:lnTo>
                  <a:lnTo>
                    <a:pt x="556" y="806"/>
                  </a:lnTo>
                  <a:lnTo>
                    <a:pt x="556" y="809"/>
                  </a:lnTo>
                  <a:lnTo>
                    <a:pt x="555" y="812"/>
                  </a:lnTo>
                  <a:lnTo>
                    <a:pt x="555" y="814"/>
                  </a:lnTo>
                  <a:lnTo>
                    <a:pt x="555" y="815"/>
                  </a:lnTo>
                  <a:lnTo>
                    <a:pt x="557" y="817"/>
                  </a:lnTo>
                  <a:lnTo>
                    <a:pt x="558" y="818"/>
                  </a:lnTo>
                  <a:lnTo>
                    <a:pt x="559" y="819"/>
                  </a:lnTo>
                  <a:lnTo>
                    <a:pt x="554" y="820"/>
                  </a:lnTo>
                  <a:lnTo>
                    <a:pt x="550" y="821"/>
                  </a:lnTo>
                  <a:lnTo>
                    <a:pt x="551" y="822"/>
                  </a:lnTo>
                  <a:lnTo>
                    <a:pt x="551" y="824"/>
                  </a:lnTo>
                  <a:lnTo>
                    <a:pt x="551" y="826"/>
                  </a:lnTo>
                  <a:lnTo>
                    <a:pt x="552" y="827"/>
                  </a:lnTo>
                  <a:lnTo>
                    <a:pt x="554" y="826"/>
                  </a:lnTo>
                  <a:lnTo>
                    <a:pt x="557" y="825"/>
                  </a:lnTo>
                  <a:lnTo>
                    <a:pt x="558" y="830"/>
                  </a:lnTo>
                  <a:lnTo>
                    <a:pt x="559" y="834"/>
                  </a:lnTo>
                  <a:lnTo>
                    <a:pt x="559" y="842"/>
                  </a:lnTo>
                  <a:lnTo>
                    <a:pt x="561" y="843"/>
                  </a:lnTo>
                  <a:lnTo>
                    <a:pt x="564" y="842"/>
                  </a:lnTo>
                  <a:lnTo>
                    <a:pt x="567" y="842"/>
                  </a:lnTo>
                  <a:lnTo>
                    <a:pt x="569" y="842"/>
                  </a:lnTo>
                  <a:lnTo>
                    <a:pt x="569" y="848"/>
                  </a:lnTo>
                  <a:lnTo>
                    <a:pt x="571" y="848"/>
                  </a:lnTo>
                  <a:lnTo>
                    <a:pt x="573" y="848"/>
                  </a:lnTo>
                  <a:lnTo>
                    <a:pt x="577" y="846"/>
                  </a:lnTo>
                  <a:lnTo>
                    <a:pt x="583" y="854"/>
                  </a:lnTo>
                  <a:lnTo>
                    <a:pt x="586" y="858"/>
                  </a:lnTo>
                  <a:lnTo>
                    <a:pt x="590" y="862"/>
                  </a:lnTo>
                  <a:lnTo>
                    <a:pt x="592" y="861"/>
                  </a:lnTo>
                  <a:lnTo>
                    <a:pt x="594" y="861"/>
                  </a:lnTo>
                  <a:lnTo>
                    <a:pt x="596" y="861"/>
                  </a:lnTo>
                  <a:lnTo>
                    <a:pt x="598" y="860"/>
                  </a:lnTo>
                  <a:lnTo>
                    <a:pt x="600" y="857"/>
                  </a:lnTo>
                  <a:lnTo>
                    <a:pt x="601" y="855"/>
                  </a:lnTo>
                  <a:lnTo>
                    <a:pt x="604" y="850"/>
                  </a:lnTo>
                  <a:lnTo>
                    <a:pt x="605" y="849"/>
                  </a:lnTo>
                  <a:lnTo>
                    <a:pt x="608" y="849"/>
                  </a:lnTo>
                  <a:lnTo>
                    <a:pt x="613" y="850"/>
                  </a:lnTo>
                  <a:lnTo>
                    <a:pt x="619" y="854"/>
                  </a:lnTo>
                  <a:lnTo>
                    <a:pt x="623" y="858"/>
                  </a:lnTo>
                  <a:lnTo>
                    <a:pt x="625" y="860"/>
                  </a:lnTo>
                  <a:lnTo>
                    <a:pt x="626" y="862"/>
                  </a:lnTo>
                  <a:lnTo>
                    <a:pt x="629" y="862"/>
                  </a:lnTo>
                  <a:lnTo>
                    <a:pt x="631" y="862"/>
                  </a:lnTo>
                  <a:lnTo>
                    <a:pt x="635" y="861"/>
                  </a:lnTo>
                  <a:lnTo>
                    <a:pt x="639" y="859"/>
                  </a:lnTo>
                  <a:lnTo>
                    <a:pt x="643" y="857"/>
                  </a:lnTo>
                  <a:lnTo>
                    <a:pt x="648" y="852"/>
                  </a:lnTo>
                  <a:lnTo>
                    <a:pt x="651" y="850"/>
                  </a:lnTo>
                  <a:lnTo>
                    <a:pt x="652" y="850"/>
                  </a:lnTo>
                  <a:lnTo>
                    <a:pt x="653" y="850"/>
                  </a:lnTo>
                  <a:lnTo>
                    <a:pt x="654" y="851"/>
                  </a:lnTo>
                  <a:lnTo>
                    <a:pt x="656" y="852"/>
                  </a:lnTo>
                  <a:lnTo>
                    <a:pt x="658" y="852"/>
                  </a:lnTo>
                  <a:lnTo>
                    <a:pt x="659" y="852"/>
                  </a:lnTo>
                  <a:lnTo>
                    <a:pt x="660" y="851"/>
                  </a:lnTo>
                  <a:lnTo>
                    <a:pt x="662" y="848"/>
                  </a:lnTo>
                  <a:lnTo>
                    <a:pt x="663" y="846"/>
                  </a:lnTo>
                  <a:lnTo>
                    <a:pt x="665" y="844"/>
                  </a:lnTo>
                  <a:lnTo>
                    <a:pt x="665" y="846"/>
                  </a:lnTo>
                  <a:lnTo>
                    <a:pt x="666" y="848"/>
                  </a:lnTo>
                  <a:lnTo>
                    <a:pt x="667" y="851"/>
                  </a:lnTo>
                  <a:lnTo>
                    <a:pt x="667" y="854"/>
                  </a:lnTo>
                  <a:lnTo>
                    <a:pt x="663" y="856"/>
                  </a:lnTo>
                  <a:lnTo>
                    <a:pt x="664" y="861"/>
                  </a:lnTo>
                  <a:lnTo>
                    <a:pt x="665" y="865"/>
                  </a:lnTo>
                  <a:lnTo>
                    <a:pt x="666" y="868"/>
                  </a:lnTo>
                  <a:lnTo>
                    <a:pt x="667" y="873"/>
                  </a:lnTo>
                  <a:lnTo>
                    <a:pt x="667" y="876"/>
                  </a:lnTo>
                  <a:lnTo>
                    <a:pt x="666" y="879"/>
                  </a:lnTo>
                  <a:lnTo>
                    <a:pt x="665" y="881"/>
                  </a:lnTo>
                  <a:lnTo>
                    <a:pt x="665" y="883"/>
                  </a:lnTo>
                  <a:lnTo>
                    <a:pt x="667" y="884"/>
                  </a:lnTo>
                  <a:lnTo>
                    <a:pt x="668" y="884"/>
                  </a:lnTo>
                  <a:lnTo>
                    <a:pt x="669" y="885"/>
                  </a:lnTo>
                  <a:lnTo>
                    <a:pt x="669" y="888"/>
                  </a:lnTo>
                  <a:lnTo>
                    <a:pt x="668" y="891"/>
                  </a:lnTo>
                  <a:lnTo>
                    <a:pt x="665" y="898"/>
                  </a:lnTo>
                  <a:lnTo>
                    <a:pt x="661" y="903"/>
                  </a:lnTo>
                  <a:lnTo>
                    <a:pt x="659" y="908"/>
                  </a:lnTo>
                  <a:lnTo>
                    <a:pt x="659" y="909"/>
                  </a:lnTo>
                  <a:lnTo>
                    <a:pt x="659" y="910"/>
                  </a:lnTo>
                  <a:lnTo>
                    <a:pt x="660" y="911"/>
                  </a:lnTo>
                  <a:lnTo>
                    <a:pt x="661" y="912"/>
                  </a:lnTo>
                  <a:lnTo>
                    <a:pt x="661" y="913"/>
                  </a:lnTo>
                  <a:lnTo>
                    <a:pt x="658" y="916"/>
                  </a:lnTo>
                  <a:lnTo>
                    <a:pt x="656" y="918"/>
                  </a:lnTo>
                  <a:lnTo>
                    <a:pt x="655" y="919"/>
                  </a:lnTo>
                  <a:lnTo>
                    <a:pt x="655" y="921"/>
                  </a:lnTo>
                  <a:lnTo>
                    <a:pt x="655" y="923"/>
                  </a:lnTo>
                  <a:lnTo>
                    <a:pt x="656" y="925"/>
                  </a:lnTo>
                  <a:lnTo>
                    <a:pt x="656" y="926"/>
                  </a:lnTo>
                  <a:lnTo>
                    <a:pt x="655" y="927"/>
                  </a:lnTo>
                  <a:lnTo>
                    <a:pt x="654" y="928"/>
                  </a:lnTo>
                  <a:lnTo>
                    <a:pt x="652" y="929"/>
                  </a:lnTo>
                  <a:lnTo>
                    <a:pt x="651" y="930"/>
                  </a:lnTo>
                  <a:lnTo>
                    <a:pt x="649" y="931"/>
                  </a:lnTo>
                  <a:lnTo>
                    <a:pt x="644" y="931"/>
                  </a:lnTo>
                  <a:lnTo>
                    <a:pt x="639" y="931"/>
                  </a:lnTo>
                  <a:lnTo>
                    <a:pt x="635" y="931"/>
                  </a:lnTo>
                  <a:lnTo>
                    <a:pt x="630" y="931"/>
                  </a:lnTo>
                  <a:lnTo>
                    <a:pt x="627" y="933"/>
                  </a:lnTo>
                  <a:lnTo>
                    <a:pt x="624" y="934"/>
                  </a:lnTo>
                  <a:lnTo>
                    <a:pt x="623" y="935"/>
                  </a:lnTo>
                  <a:lnTo>
                    <a:pt x="621" y="934"/>
                  </a:lnTo>
                  <a:lnTo>
                    <a:pt x="620" y="932"/>
                  </a:lnTo>
                  <a:lnTo>
                    <a:pt x="619" y="929"/>
                  </a:lnTo>
                  <a:lnTo>
                    <a:pt x="616" y="929"/>
                  </a:lnTo>
                  <a:lnTo>
                    <a:pt x="613" y="929"/>
                  </a:lnTo>
                  <a:lnTo>
                    <a:pt x="614" y="929"/>
                  </a:lnTo>
                  <a:lnTo>
                    <a:pt x="614" y="931"/>
                  </a:lnTo>
                  <a:lnTo>
                    <a:pt x="615" y="935"/>
                  </a:lnTo>
                  <a:lnTo>
                    <a:pt x="613" y="934"/>
                  </a:lnTo>
                  <a:lnTo>
                    <a:pt x="612" y="932"/>
                  </a:lnTo>
                  <a:lnTo>
                    <a:pt x="611" y="931"/>
                  </a:lnTo>
                  <a:lnTo>
                    <a:pt x="610" y="931"/>
                  </a:lnTo>
                  <a:lnTo>
                    <a:pt x="608" y="931"/>
                  </a:lnTo>
                  <a:lnTo>
                    <a:pt x="604" y="933"/>
                  </a:lnTo>
                  <a:lnTo>
                    <a:pt x="598" y="936"/>
                  </a:lnTo>
                  <a:lnTo>
                    <a:pt x="586" y="935"/>
                  </a:lnTo>
                  <a:lnTo>
                    <a:pt x="584" y="935"/>
                  </a:lnTo>
                  <a:lnTo>
                    <a:pt x="578" y="935"/>
                  </a:lnTo>
                  <a:lnTo>
                    <a:pt x="578" y="936"/>
                  </a:lnTo>
                  <a:lnTo>
                    <a:pt x="577" y="935"/>
                  </a:lnTo>
                  <a:lnTo>
                    <a:pt x="575" y="933"/>
                  </a:lnTo>
                  <a:lnTo>
                    <a:pt x="573" y="932"/>
                  </a:lnTo>
                  <a:lnTo>
                    <a:pt x="572" y="932"/>
                  </a:lnTo>
                  <a:lnTo>
                    <a:pt x="571" y="933"/>
                  </a:lnTo>
                  <a:lnTo>
                    <a:pt x="570" y="934"/>
                  </a:lnTo>
                  <a:lnTo>
                    <a:pt x="571" y="935"/>
                  </a:lnTo>
                  <a:lnTo>
                    <a:pt x="571" y="937"/>
                  </a:lnTo>
                  <a:lnTo>
                    <a:pt x="571" y="938"/>
                  </a:lnTo>
                  <a:lnTo>
                    <a:pt x="561" y="944"/>
                  </a:lnTo>
                  <a:lnTo>
                    <a:pt x="558" y="942"/>
                  </a:lnTo>
                  <a:lnTo>
                    <a:pt x="553" y="939"/>
                  </a:lnTo>
                  <a:lnTo>
                    <a:pt x="549" y="936"/>
                  </a:lnTo>
                  <a:lnTo>
                    <a:pt x="547" y="935"/>
                  </a:lnTo>
                  <a:lnTo>
                    <a:pt x="546" y="935"/>
                  </a:lnTo>
                  <a:lnTo>
                    <a:pt x="542" y="934"/>
                  </a:lnTo>
                  <a:lnTo>
                    <a:pt x="539" y="935"/>
                  </a:lnTo>
                  <a:lnTo>
                    <a:pt x="537" y="937"/>
                  </a:lnTo>
                  <a:lnTo>
                    <a:pt x="534" y="936"/>
                  </a:lnTo>
                  <a:lnTo>
                    <a:pt x="534" y="935"/>
                  </a:lnTo>
                  <a:lnTo>
                    <a:pt x="527" y="930"/>
                  </a:lnTo>
                  <a:lnTo>
                    <a:pt x="519" y="925"/>
                  </a:lnTo>
                  <a:lnTo>
                    <a:pt x="516" y="925"/>
                  </a:lnTo>
                  <a:lnTo>
                    <a:pt x="512" y="925"/>
                  </a:lnTo>
                  <a:lnTo>
                    <a:pt x="509" y="925"/>
                  </a:lnTo>
                  <a:lnTo>
                    <a:pt x="505" y="925"/>
                  </a:lnTo>
                  <a:lnTo>
                    <a:pt x="504" y="917"/>
                  </a:lnTo>
                  <a:lnTo>
                    <a:pt x="493" y="914"/>
                  </a:lnTo>
                  <a:lnTo>
                    <a:pt x="484" y="911"/>
                  </a:lnTo>
                  <a:lnTo>
                    <a:pt x="481" y="912"/>
                  </a:lnTo>
                  <a:lnTo>
                    <a:pt x="478" y="914"/>
                  </a:lnTo>
                  <a:lnTo>
                    <a:pt x="472" y="918"/>
                  </a:lnTo>
                  <a:lnTo>
                    <a:pt x="470" y="921"/>
                  </a:lnTo>
                  <a:lnTo>
                    <a:pt x="467" y="924"/>
                  </a:lnTo>
                  <a:lnTo>
                    <a:pt x="463" y="929"/>
                  </a:lnTo>
                  <a:lnTo>
                    <a:pt x="464" y="930"/>
                  </a:lnTo>
                  <a:lnTo>
                    <a:pt x="466" y="932"/>
                  </a:lnTo>
                  <a:lnTo>
                    <a:pt x="469" y="935"/>
                  </a:lnTo>
                  <a:lnTo>
                    <a:pt x="469" y="938"/>
                  </a:lnTo>
                  <a:lnTo>
                    <a:pt x="469" y="940"/>
                  </a:lnTo>
                  <a:lnTo>
                    <a:pt x="469" y="942"/>
                  </a:lnTo>
                  <a:lnTo>
                    <a:pt x="466" y="945"/>
                  </a:lnTo>
                  <a:lnTo>
                    <a:pt x="462" y="948"/>
                  </a:lnTo>
                  <a:lnTo>
                    <a:pt x="456" y="954"/>
                  </a:lnTo>
                  <a:lnTo>
                    <a:pt x="452" y="951"/>
                  </a:lnTo>
                  <a:lnTo>
                    <a:pt x="450" y="948"/>
                  </a:lnTo>
                  <a:lnTo>
                    <a:pt x="446" y="946"/>
                  </a:lnTo>
                  <a:lnTo>
                    <a:pt x="441" y="945"/>
                  </a:lnTo>
                  <a:lnTo>
                    <a:pt x="433" y="944"/>
                  </a:lnTo>
                  <a:lnTo>
                    <a:pt x="429" y="943"/>
                  </a:lnTo>
                  <a:lnTo>
                    <a:pt x="425" y="942"/>
                  </a:lnTo>
                  <a:lnTo>
                    <a:pt x="421" y="940"/>
                  </a:lnTo>
                  <a:lnTo>
                    <a:pt x="417" y="938"/>
                  </a:lnTo>
                  <a:lnTo>
                    <a:pt x="415" y="936"/>
                  </a:lnTo>
                  <a:lnTo>
                    <a:pt x="413" y="934"/>
                  </a:lnTo>
                  <a:lnTo>
                    <a:pt x="409" y="929"/>
                  </a:lnTo>
                  <a:lnTo>
                    <a:pt x="405" y="923"/>
                  </a:lnTo>
                  <a:lnTo>
                    <a:pt x="402" y="921"/>
                  </a:lnTo>
                  <a:lnTo>
                    <a:pt x="400" y="919"/>
                  </a:lnTo>
                  <a:lnTo>
                    <a:pt x="397" y="918"/>
                  </a:lnTo>
                  <a:lnTo>
                    <a:pt x="394" y="917"/>
                  </a:lnTo>
                  <a:lnTo>
                    <a:pt x="387" y="917"/>
                  </a:lnTo>
                  <a:lnTo>
                    <a:pt x="380" y="917"/>
                  </a:lnTo>
                  <a:lnTo>
                    <a:pt x="376" y="917"/>
                  </a:lnTo>
                  <a:lnTo>
                    <a:pt x="371" y="915"/>
                  </a:lnTo>
                  <a:lnTo>
                    <a:pt x="371" y="911"/>
                  </a:lnTo>
                  <a:lnTo>
                    <a:pt x="369" y="911"/>
                  </a:lnTo>
                  <a:lnTo>
                    <a:pt x="366" y="911"/>
                  </a:lnTo>
                  <a:lnTo>
                    <a:pt x="364" y="911"/>
                  </a:lnTo>
                  <a:lnTo>
                    <a:pt x="362" y="910"/>
                  </a:lnTo>
                  <a:lnTo>
                    <a:pt x="361" y="908"/>
                  </a:lnTo>
                  <a:lnTo>
                    <a:pt x="361" y="906"/>
                  </a:lnTo>
                  <a:lnTo>
                    <a:pt x="360" y="903"/>
                  </a:lnTo>
                  <a:lnTo>
                    <a:pt x="360" y="902"/>
                  </a:lnTo>
                  <a:lnTo>
                    <a:pt x="359" y="902"/>
                  </a:lnTo>
                  <a:lnTo>
                    <a:pt x="358" y="902"/>
                  </a:lnTo>
                  <a:lnTo>
                    <a:pt x="356" y="904"/>
                  </a:lnTo>
                  <a:lnTo>
                    <a:pt x="352" y="901"/>
                  </a:lnTo>
                  <a:lnTo>
                    <a:pt x="351" y="899"/>
                  </a:lnTo>
                  <a:lnTo>
                    <a:pt x="349" y="898"/>
                  </a:lnTo>
                  <a:lnTo>
                    <a:pt x="349" y="895"/>
                  </a:lnTo>
                  <a:lnTo>
                    <a:pt x="348" y="893"/>
                  </a:lnTo>
                  <a:lnTo>
                    <a:pt x="347" y="892"/>
                  </a:lnTo>
                  <a:lnTo>
                    <a:pt x="347" y="890"/>
                  </a:lnTo>
                  <a:lnTo>
                    <a:pt x="348" y="889"/>
                  </a:lnTo>
                  <a:lnTo>
                    <a:pt x="350" y="888"/>
                  </a:lnTo>
                  <a:lnTo>
                    <a:pt x="352" y="888"/>
                  </a:lnTo>
                  <a:lnTo>
                    <a:pt x="353" y="887"/>
                  </a:lnTo>
                  <a:lnTo>
                    <a:pt x="355" y="883"/>
                  </a:lnTo>
                  <a:lnTo>
                    <a:pt x="356" y="876"/>
                  </a:lnTo>
                  <a:lnTo>
                    <a:pt x="358" y="867"/>
                  </a:lnTo>
                  <a:lnTo>
                    <a:pt x="355" y="867"/>
                  </a:lnTo>
                  <a:lnTo>
                    <a:pt x="351" y="867"/>
                  </a:lnTo>
                  <a:lnTo>
                    <a:pt x="351" y="866"/>
                  </a:lnTo>
                  <a:lnTo>
                    <a:pt x="351" y="864"/>
                  </a:lnTo>
                  <a:lnTo>
                    <a:pt x="351" y="861"/>
                  </a:lnTo>
                  <a:lnTo>
                    <a:pt x="351" y="860"/>
                  </a:lnTo>
                  <a:lnTo>
                    <a:pt x="357" y="852"/>
                  </a:lnTo>
                  <a:lnTo>
                    <a:pt x="362" y="844"/>
                  </a:lnTo>
                  <a:lnTo>
                    <a:pt x="358" y="844"/>
                  </a:lnTo>
                  <a:lnTo>
                    <a:pt x="355" y="846"/>
                  </a:lnTo>
                  <a:lnTo>
                    <a:pt x="352" y="846"/>
                  </a:lnTo>
                  <a:lnTo>
                    <a:pt x="350" y="846"/>
                  </a:lnTo>
                  <a:lnTo>
                    <a:pt x="349" y="846"/>
                  </a:lnTo>
                  <a:lnTo>
                    <a:pt x="349" y="840"/>
                  </a:lnTo>
                  <a:lnTo>
                    <a:pt x="343" y="839"/>
                  </a:lnTo>
                  <a:lnTo>
                    <a:pt x="340" y="839"/>
                  </a:lnTo>
                  <a:lnTo>
                    <a:pt x="336" y="841"/>
                  </a:lnTo>
                  <a:lnTo>
                    <a:pt x="332" y="843"/>
                  </a:lnTo>
                  <a:lnTo>
                    <a:pt x="330" y="844"/>
                  </a:lnTo>
                  <a:lnTo>
                    <a:pt x="326" y="845"/>
                  </a:lnTo>
                  <a:lnTo>
                    <a:pt x="323" y="844"/>
                  </a:lnTo>
                  <a:lnTo>
                    <a:pt x="317" y="842"/>
                  </a:lnTo>
                  <a:lnTo>
                    <a:pt x="314" y="841"/>
                  </a:lnTo>
                  <a:lnTo>
                    <a:pt x="311" y="840"/>
                  </a:lnTo>
                  <a:lnTo>
                    <a:pt x="309" y="845"/>
                  </a:lnTo>
                  <a:lnTo>
                    <a:pt x="308" y="847"/>
                  </a:lnTo>
                  <a:lnTo>
                    <a:pt x="307" y="848"/>
                  </a:lnTo>
                  <a:lnTo>
                    <a:pt x="305" y="846"/>
                  </a:lnTo>
                  <a:lnTo>
                    <a:pt x="304" y="845"/>
                  </a:lnTo>
                  <a:lnTo>
                    <a:pt x="301" y="840"/>
                  </a:lnTo>
                  <a:lnTo>
                    <a:pt x="294" y="842"/>
                  </a:lnTo>
                  <a:lnTo>
                    <a:pt x="289" y="842"/>
                  </a:lnTo>
                  <a:lnTo>
                    <a:pt x="276" y="842"/>
                  </a:lnTo>
                  <a:lnTo>
                    <a:pt x="272" y="843"/>
                  </a:lnTo>
                  <a:lnTo>
                    <a:pt x="266" y="845"/>
                  </a:lnTo>
                  <a:lnTo>
                    <a:pt x="257" y="848"/>
                  </a:lnTo>
                  <a:lnTo>
                    <a:pt x="254" y="848"/>
                  </a:lnTo>
                  <a:lnTo>
                    <a:pt x="249" y="847"/>
                  </a:lnTo>
                  <a:lnTo>
                    <a:pt x="244" y="846"/>
                  </a:lnTo>
                  <a:lnTo>
                    <a:pt x="242" y="846"/>
                  </a:lnTo>
                  <a:lnTo>
                    <a:pt x="240" y="846"/>
                  </a:lnTo>
                  <a:lnTo>
                    <a:pt x="237" y="848"/>
                  </a:lnTo>
                  <a:lnTo>
                    <a:pt x="234" y="850"/>
                  </a:lnTo>
                  <a:lnTo>
                    <a:pt x="232" y="852"/>
                  </a:lnTo>
                  <a:lnTo>
                    <a:pt x="230" y="854"/>
                  </a:lnTo>
                  <a:lnTo>
                    <a:pt x="226" y="854"/>
                  </a:lnTo>
                  <a:lnTo>
                    <a:pt x="224" y="854"/>
                  </a:lnTo>
                  <a:lnTo>
                    <a:pt x="222" y="854"/>
                  </a:lnTo>
                  <a:lnTo>
                    <a:pt x="220" y="857"/>
                  </a:lnTo>
                  <a:lnTo>
                    <a:pt x="218" y="860"/>
                  </a:lnTo>
                  <a:lnTo>
                    <a:pt x="215" y="860"/>
                  </a:lnTo>
                  <a:lnTo>
                    <a:pt x="212" y="861"/>
                  </a:lnTo>
                  <a:lnTo>
                    <a:pt x="208" y="861"/>
                  </a:lnTo>
                  <a:lnTo>
                    <a:pt x="205" y="862"/>
                  </a:lnTo>
                  <a:lnTo>
                    <a:pt x="203" y="863"/>
                  </a:lnTo>
                  <a:lnTo>
                    <a:pt x="202" y="864"/>
                  </a:lnTo>
                  <a:lnTo>
                    <a:pt x="199" y="868"/>
                  </a:lnTo>
                  <a:lnTo>
                    <a:pt x="196" y="871"/>
                  </a:lnTo>
                  <a:lnTo>
                    <a:pt x="194" y="872"/>
                  </a:lnTo>
                  <a:lnTo>
                    <a:pt x="192" y="873"/>
                  </a:lnTo>
                  <a:lnTo>
                    <a:pt x="190" y="873"/>
                  </a:lnTo>
                  <a:lnTo>
                    <a:pt x="189" y="872"/>
                  </a:lnTo>
                  <a:lnTo>
                    <a:pt x="186" y="870"/>
                  </a:lnTo>
                  <a:lnTo>
                    <a:pt x="184" y="867"/>
                  </a:lnTo>
                  <a:lnTo>
                    <a:pt x="182" y="868"/>
                  </a:lnTo>
                  <a:lnTo>
                    <a:pt x="181" y="869"/>
                  </a:lnTo>
                  <a:lnTo>
                    <a:pt x="181" y="870"/>
                  </a:lnTo>
                  <a:lnTo>
                    <a:pt x="180" y="871"/>
                  </a:lnTo>
                  <a:lnTo>
                    <a:pt x="175" y="872"/>
                  </a:lnTo>
                  <a:lnTo>
                    <a:pt x="169" y="873"/>
                  </a:lnTo>
                  <a:lnTo>
                    <a:pt x="164" y="873"/>
                  </a:lnTo>
                  <a:lnTo>
                    <a:pt x="159" y="873"/>
                  </a:lnTo>
                  <a:lnTo>
                    <a:pt x="151" y="862"/>
                  </a:lnTo>
                  <a:lnTo>
                    <a:pt x="144" y="863"/>
                  </a:lnTo>
                  <a:lnTo>
                    <a:pt x="142" y="868"/>
                  </a:lnTo>
                  <a:lnTo>
                    <a:pt x="141" y="872"/>
                  </a:lnTo>
                  <a:lnTo>
                    <a:pt x="139" y="879"/>
                  </a:lnTo>
                  <a:lnTo>
                    <a:pt x="138" y="883"/>
                  </a:lnTo>
                  <a:lnTo>
                    <a:pt x="137" y="887"/>
                  </a:lnTo>
                  <a:lnTo>
                    <a:pt x="135" y="891"/>
                  </a:lnTo>
                  <a:lnTo>
                    <a:pt x="132" y="894"/>
                  </a:lnTo>
                  <a:lnTo>
                    <a:pt x="126" y="900"/>
                  </a:lnTo>
                  <a:lnTo>
                    <a:pt x="122" y="902"/>
                  </a:lnTo>
                  <a:lnTo>
                    <a:pt x="119" y="904"/>
                  </a:lnTo>
                  <a:lnTo>
                    <a:pt x="117" y="904"/>
                  </a:lnTo>
                  <a:lnTo>
                    <a:pt x="115" y="904"/>
                  </a:lnTo>
                  <a:lnTo>
                    <a:pt x="113" y="903"/>
                  </a:lnTo>
                  <a:lnTo>
                    <a:pt x="112" y="904"/>
                  </a:lnTo>
                  <a:lnTo>
                    <a:pt x="111" y="904"/>
                  </a:lnTo>
                  <a:lnTo>
                    <a:pt x="108" y="907"/>
                  </a:lnTo>
                  <a:lnTo>
                    <a:pt x="105" y="911"/>
                  </a:lnTo>
                  <a:lnTo>
                    <a:pt x="101" y="916"/>
                  </a:lnTo>
                  <a:lnTo>
                    <a:pt x="99" y="919"/>
                  </a:lnTo>
                  <a:lnTo>
                    <a:pt x="99" y="921"/>
                  </a:lnTo>
                  <a:lnTo>
                    <a:pt x="100" y="921"/>
                  </a:lnTo>
                  <a:lnTo>
                    <a:pt x="101" y="923"/>
                  </a:lnTo>
                  <a:lnTo>
                    <a:pt x="101" y="925"/>
                  </a:lnTo>
                  <a:lnTo>
                    <a:pt x="100" y="928"/>
                  </a:lnTo>
                  <a:lnTo>
                    <a:pt x="97" y="931"/>
                  </a:lnTo>
                  <a:lnTo>
                    <a:pt x="95" y="935"/>
                  </a:lnTo>
                  <a:lnTo>
                    <a:pt x="94" y="937"/>
                  </a:lnTo>
                  <a:lnTo>
                    <a:pt x="94" y="938"/>
                  </a:lnTo>
                  <a:lnTo>
                    <a:pt x="94" y="942"/>
                  </a:lnTo>
                  <a:lnTo>
                    <a:pt x="95" y="945"/>
                  </a:lnTo>
                  <a:lnTo>
                    <a:pt x="97" y="948"/>
                  </a:lnTo>
                  <a:lnTo>
                    <a:pt x="98" y="950"/>
                  </a:lnTo>
                  <a:lnTo>
                    <a:pt x="98" y="955"/>
                  </a:lnTo>
                  <a:lnTo>
                    <a:pt x="98" y="959"/>
                  </a:lnTo>
                  <a:lnTo>
                    <a:pt x="96" y="968"/>
                  </a:lnTo>
                  <a:lnTo>
                    <a:pt x="92" y="975"/>
                  </a:lnTo>
                  <a:lnTo>
                    <a:pt x="88" y="981"/>
                  </a:lnTo>
                  <a:lnTo>
                    <a:pt x="86" y="983"/>
                  </a:lnTo>
                  <a:lnTo>
                    <a:pt x="83" y="985"/>
                  </a:lnTo>
                  <a:lnTo>
                    <a:pt x="78" y="989"/>
                  </a:lnTo>
                  <a:lnTo>
                    <a:pt x="72" y="992"/>
                  </a:lnTo>
                  <a:lnTo>
                    <a:pt x="67" y="996"/>
                  </a:lnTo>
                  <a:lnTo>
                    <a:pt x="66" y="998"/>
                  </a:lnTo>
                  <a:lnTo>
                    <a:pt x="65" y="999"/>
                  </a:lnTo>
                  <a:lnTo>
                    <a:pt x="63" y="1004"/>
                  </a:lnTo>
                  <a:lnTo>
                    <a:pt x="60" y="1004"/>
                  </a:lnTo>
                  <a:lnTo>
                    <a:pt x="58" y="1004"/>
                  </a:lnTo>
                  <a:lnTo>
                    <a:pt x="56" y="1004"/>
                  </a:lnTo>
                  <a:lnTo>
                    <a:pt x="53" y="1006"/>
                  </a:lnTo>
                  <a:lnTo>
                    <a:pt x="53" y="1007"/>
                  </a:lnTo>
                  <a:lnTo>
                    <a:pt x="52" y="1008"/>
                  </a:lnTo>
                  <a:lnTo>
                    <a:pt x="51" y="1011"/>
                  </a:lnTo>
                  <a:lnTo>
                    <a:pt x="51" y="1014"/>
                  </a:lnTo>
                  <a:lnTo>
                    <a:pt x="50" y="1017"/>
                  </a:lnTo>
                  <a:lnTo>
                    <a:pt x="48" y="1019"/>
                  </a:lnTo>
                  <a:lnTo>
                    <a:pt x="45" y="1021"/>
                  </a:lnTo>
                  <a:lnTo>
                    <a:pt x="42" y="1023"/>
                  </a:lnTo>
                  <a:lnTo>
                    <a:pt x="40" y="1025"/>
                  </a:lnTo>
                  <a:lnTo>
                    <a:pt x="38" y="1028"/>
                  </a:lnTo>
                  <a:lnTo>
                    <a:pt x="37" y="1032"/>
                  </a:lnTo>
                  <a:lnTo>
                    <a:pt x="35" y="1039"/>
                  </a:lnTo>
                  <a:lnTo>
                    <a:pt x="33" y="1047"/>
                  </a:lnTo>
                  <a:lnTo>
                    <a:pt x="30" y="1054"/>
                  </a:lnTo>
                  <a:lnTo>
                    <a:pt x="28" y="1056"/>
                  </a:lnTo>
                  <a:lnTo>
                    <a:pt x="25" y="1058"/>
                  </a:lnTo>
                  <a:lnTo>
                    <a:pt x="23" y="1061"/>
                  </a:lnTo>
                  <a:lnTo>
                    <a:pt x="21" y="1063"/>
                  </a:lnTo>
                  <a:lnTo>
                    <a:pt x="18" y="1069"/>
                  </a:lnTo>
                  <a:lnTo>
                    <a:pt x="17" y="1075"/>
                  </a:lnTo>
                  <a:lnTo>
                    <a:pt x="16" y="1081"/>
                  </a:lnTo>
                  <a:lnTo>
                    <a:pt x="13" y="1086"/>
                  </a:lnTo>
                  <a:lnTo>
                    <a:pt x="10" y="1088"/>
                  </a:lnTo>
                  <a:lnTo>
                    <a:pt x="8" y="1089"/>
                  </a:lnTo>
                  <a:lnTo>
                    <a:pt x="7" y="1090"/>
                  </a:lnTo>
                  <a:lnTo>
                    <a:pt x="6" y="1094"/>
                  </a:lnTo>
                  <a:lnTo>
                    <a:pt x="5" y="1097"/>
                  </a:lnTo>
                  <a:lnTo>
                    <a:pt x="5" y="1100"/>
                  </a:lnTo>
                  <a:lnTo>
                    <a:pt x="6" y="1102"/>
                  </a:lnTo>
                  <a:lnTo>
                    <a:pt x="6" y="1104"/>
                  </a:lnTo>
                  <a:lnTo>
                    <a:pt x="7" y="1106"/>
                  </a:lnTo>
                  <a:lnTo>
                    <a:pt x="10" y="1108"/>
                  </a:lnTo>
                  <a:lnTo>
                    <a:pt x="12" y="1110"/>
                  </a:lnTo>
                  <a:lnTo>
                    <a:pt x="12" y="1112"/>
                  </a:lnTo>
                  <a:lnTo>
                    <a:pt x="13" y="1113"/>
                  </a:lnTo>
                  <a:lnTo>
                    <a:pt x="13" y="1117"/>
                  </a:lnTo>
                  <a:lnTo>
                    <a:pt x="13" y="1123"/>
                  </a:lnTo>
                  <a:lnTo>
                    <a:pt x="11" y="1130"/>
                  </a:lnTo>
                  <a:lnTo>
                    <a:pt x="13" y="1136"/>
                  </a:lnTo>
                  <a:lnTo>
                    <a:pt x="14" y="1141"/>
                  </a:lnTo>
                  <a:lnTo>
                    <a:pt x="15" y="1151"/>
                  </a:lnTo>
                  <a:lnTo>
                    <a:pt x="16" y="1161"/>
                  </a:lnTo>
                  <a:lnTo>
                    <a:pt x="14" y="1173"/>
                  </a:lnTo>
                  <a:lnTo>
                    <a:pt x="13" y="1178"/>
                  </a:lnTo>
                  <a:lnTo>
                    <a:pt x="9" y="1178"/>
                  </a:lnTo>
                  <a:lnTo>
                    <a:pt x="9" y="1189"/>
                  </a:lnTo>
                  <a:lnTo>
                    <a:pt x="9" y="1193"/>
                  </a:lnTo>
                  <a:lnTo>
                    <a:pt x="8" y="1196"/>
                  </a:lnTo>
                  <a:lnTo>
                    <a:pt x="7" y="1198"/>
                  </a:lnTo>
                  <a:lnTo>
                    <a:pt x="6" y="1199"/>
                  </a:lnTo>
                  <a:lnTo>
                    <a:pt x="3" y="1201"/>
                  </a:lnTo>
                  <a:lnTo>
                    <a:pt x="0" y="1205"/>
                  </a:lnTo>
                  <a:lnTo>
                    <a:pt x="0" y="1207"/>
                  </a:lnTo>
                  <a:lnTo>
                    <a:pt x="0" y="1208"/>
                  </a:lnTo>
                  <a:lnTo>
                    <a:pt x="2" y="1212"/>
                  </a:lnTo>
                  <a:lnTo>
                    <a:pt x="6" y="1221"/>
                  </a:lnTo>
                  <a:lnTo>
                    <a:pt x="8" y="1225"/>
                  </a:lnTo>
                  <a:lnTo>
                    <a:pt x="9" y="1229"/>
                  </a:lnTo>
                  <a:lnTo>
                    <a:pt x="8" y="1230"/>
                  </a:lnTo>
                  <a:lnTo>
                    <a:pt x="7" y="1231"/>
                  </a:lnTo>
                  <a:lnTo>
                    <a:pt x="7" y="1233"/>
                  </a:lnTo>
                  <a:lnTo>
                    <a:pt x="8" y="1235"/>
                  </a:lnTo>
                  <a:lnTo>
                    <a:pt x="11" y="1242"/>
                  </a:lnTo>
                  <a:lnTo>
                    <a:pt x="11" y="1246"/>
                  </a:lnTo>
                  <a:lnTo>
                    <a:pt x="13" y="1247"/>
                  </a:lnTo>
                  <a:lnTo>
                    <a:pt x="16" y="1248"/>
                  </a:lnTo>
                  <a:lnTo>
                    <a:pt x="19" y="1248"/>
                  </a:lnTo>
                  <a:lnTo>
                    <a:pt x="21" y="1249"/>
                  </a:lnTo>
                  <a:lnTo>
                    <a:pt x="21" y="1250"/>
                  </a:lnTo>
                  <a:lnTo>
                    <a:pt x="22" y="1251"/>
                  </a:lnTo>
                  <a:lnTo>
                    <a:pt x="22" y="1254"/>
                  </a:lnTo>
                  <a:lnTo>
                    <a:pt x="22" y="1257"/>
                  </a:lnTo>
                  <a:lnTo>
                    <a:pt x="22" y="1258"/>
                  </a:lnTo>
                  <a:lnTo>
                    <a:pt x="23" y="1259"/>
                  </a:lnTo>
                  <a:lnTo>
                    <a:pt x="27" y="1259"/>
                  </a:lnTo>
                  <a:lnTo>
                    <a:pt x="28" y="1259"/>
                  </a:lnTo>
                  <a:lnTo>
                    <a:pt x="29" y="1259"/>
                  </a:lnTo>
                  <a:lnTo>
                    <a:pt x="29" y="1261"/>
                  </a:lnTo>
                  <a:lnTo>
                    <a:pt x="31" y="1264"/>
                  </a:lnTo>
                  <a:lnTo>
                    <a:pt x="33" y="1268"/>
                  </a:lnTo>
                  <a:lnTo>
                    <a:pt x="36" y="1276"/>
                  </a:lnTo>
                  <a:lnTo>
                    <a:pt x="42" y="1276"/>
                  </a:lnTo>
                  <a:lnTo>
                    <a:pt x="41" y="1280"/>
                  </a:lnTo>
                  <a:lnTo>
                    <a:pt x="40" y="1283"/>
                  </a:lnTo>
                  <a:lnTo>
                    <a:pt x="40" y="1286"/>
                  </a:lnTo>
                  <a:lnTo>
                    <a:pt x="40" y="1287"/>
                  </a:lnTo>
                  <a:lnTo>
                    <a:pt x="41" y="1288"/>
                  </a:lnTo>
                  <a:lnTo>
                    <a:pt x="44" y="1290"/>
                  </a:lnTo>
                  <a:lnTo>
                    <a:pt x="48" y="1292"/>
                  </a:lnTo>
                  <a:lnTo>
                    <a:pt x="49" y="1295"/>
                  </a:lnTo>
                  <a:lnTo>
                    <a:pt x="50" y="1298"/>
                  </a:lnTo>
                  <a:lnTo>
                    <a:pt x="50" y="1305"/>
                  </a:lnTo>
                  <a:lnTo>
                    <a:pt x="51" y="1308"/>
                  </a:lnTo>
                  <a:lnTo>
                    <a:pt x="52" y="1311"/>
                  </a:lnTo>
                  <a:lnTo>
                    <a:pt x="53" y="1313"/>
                  </a:lnTo>
                  <a:lnTo>
                    <a:pt x="55" y="1315"/>
                  </a:lnTo>
                  <a:lnTo>
                    <a:pt x="56" y="1315"/>
                  </a:lnTo>
                  <a:lnTo>
                    <a:pt x="55" y="1316"/>
                  </a:lnTo>
                  <a:lnTo>
                    <a:pt x="53" y="1317"/>
                  </a:lnTo>
                  <a:lnTo>
                    <a:pt x="53" y="1318"/>
                  </a:lnTo>
                  <a:lnTo>
                    <a:pt x="53" y="1319"/>
                  </a:lnTo>
                  <a:lnTo>
                    <a:pt x="54" y="1319"/>
                  </a:lnTo>
                  <a:lnTo>
                    <a:pt x="55" y="1319"/>
                  </a:lnTo>
                  <a:lnTo>
                    <a:pt x="55" y="1317"/>
                  </a:lnTo>
                  <a:lnTo>
                    <a:pt x="59" y="1323"/>
                  </a:lnTo>
                  <a:lnTo>
                    <a:pt x="61" y="1325"/>
                  </a:lnTo>
                  <a:lnTo>
                    <a:pt x="62" y="1326"/>
                  </a:lnTo>
                  <a:lnTo>
                    <a:pt x="64" y="1328"/>
                  </a:lnTo>
                  <a:lnTo>
                    <a:pt x="65" y="1328"/>
                  </a:lnTo>
                  <a:lnTo>
                    <a:pt x="68" y="1328"/>
                  </a:lnTo>
                  <a:lnTo>
                    <a:pt x="70" y="1328"/>
                  </a:lnTo>
                  <a:lnTo>
                    <a:pt x="71" y="1328"/>
                  </a:lnTo>
                  <a:lnTo>
                    <a:pt x="72" y="1330"/>
                  </a:lnTo>
                  <a:lnTo>
                    <a:pt x="73" y="1332"/>
                  </a:lnTo>
                  <a:lnTo>
                    <a:pt x="73" y="1334"/>
                  </a:lnTo>
                  <a:lnTo>
                    <a:pt x="75" y="1336"/>
                  </a:lnTo>
                  <a:lnTo>
                    <a:pt x="76" y="1337"/>
                  </a:lnTo>
                  <a:lnTo>
                    <a:pt x="78" y="1339"/>
                  </a:lnTo>
                  <a:lnTo>
                    <a:pt x="82" y="1341"/>
                  </a:lnTo>
                  <a:lnTo>
                    <a:pt x="86" y="1343"/>
                  </a:lnTo>
                  <a:lnTo>
                    <a:pt x="90" y="1345"/>
                  </a:lnTo>
                  <a:lnTo>
                    <a:pt x="93" y="1348"/>
                  </a:lnTo>
                  <a:lnTo>
                    <a:pt x="96" y="1352"/>
                  </a:lnTo>
                  <a:lnTo>
                    <a:pt x="100" y="1356"/>
                  </a:lnTo>
                  <a:lnTo>
                    <a:pt x="103" y="1361"/>
                  </a:lnTo>
                  <a:lnTo>
                    <a:pt x="108" y="1364"/>
                  </a:lnTo>
                  <a:lnTo>
                    <a:pt x="112" y="1367"/>
                  </a:lnTo>
                  <a:lnTo>
                    <a:pt x="115" y="1368"/>
                  </a:lnTo>
                  <a:lnTo>
                    <a:pt x="118" y="1369"/>
                  </a:lnTo>
                  <a:lnTo>
                    <a:pt x="124" y="1368"/>
                  </a:lnTo>
                  <a:lnTo>
                    <a:pt x="127" y="1368"/>
                  </a:lnTo>
                  <a:lnTo>
                    <a:pt x="129" y="1366"/>
                  </a:lnTo>
                  <a:lnTo>
                    <a:pt x="134" y="1362"/>
                  </a:lnTo>
                  <a:lnTo>
                    <a:pt x="138" y="1357"/>
                  </a:lnTo>
                  <a:lnTo>
                    <a:pt x="140" y="1356"/>
                  </a:lnTo>
                  <a:lnTo>
                    <a:pt x="142" y="1355"/>
                  </a:lnTo>
                  <a:lnTo>
                    <a:pt x="146" y="1354"/>
                  </a:lnTo>
                  <a:lnTo>
                    <a:pt x="151" y="1354"/>
                  </a:lnTo>
                  <a:lnTo>
                    <a:pt x="154" y="1354"/>
                  </a:lnTo>
                  <a:lnTo>
                    <a:pt x="158" y="1355"/>
                  </a:lnTo>
                  <a:lnTo>
                    <a:pt x="164" y="1358"/>
                  </a:lnTo>
                  <a:lnTo>
                    <a:pt x="167" y="1359"/>
                  </a:lnTo>
                  <a:lnTo>
                    <a:pt x="170" y="1360"/>
                  </a:lnTo>
                  <a:lnTo>
                    <a:pt x="174" y="1361"/>
                  </a:lnTo>
                  <a:lnTo>
                    <a:pt x="178" y="1361"/>
                  </a:lnTo>
                  <a:lnTo>
                    <a:pt x="180" y="1360"/>
                  </a:lnTo>
                  <a:lnTo>
                    <a:pt x="183" y="1358"/>
                  </a:lnTo>
                  <a:lnTo>
                    <a:pt x="186" y="1356"/>
                  </a:lnTo>
                  <a:lnTo>
                    <a:pt x="188" y="1355"/>
                  </a:lnTo>
                  <a:lnTo>
                    <a:pt x="190" y="1355"/>
                  </a:lnTo>
                  <a:lnTo>
                    <a:pt x="192" y="1355"/>
                  </a:lnTo>
                  <a:lnTo>
                    <a:pt x="194" y="1355"/>
                  </a:lnTo>
                  <a:lnTo>
                    <a:pt x="195" y="1355"/>
                  </a:lnTo>
                  <a:lnTo>
                    <a:pt x="198" y="1352"/>
                  </a:lnTo>
                  <a:lnTo>
                    <a:pt x="200" y="1350"/>
                  </a:lnTo>
                  <a:lnTo>
                    <a:pt x="201" y="1349"/>
                  </a:lnTo>
                  <a:lnTo>
                    <a:pt x="207" y="1348"/>
                  </a:lnTo>
                  <a:lnTo>
                    <a:pt x="213" y="1349"/>
                  </a:lnTo>
                  <a:lnTo>
                    <a:pt x="219" y="1349"/>
                  </a:lnTo>
                  <a:lnTo>
                    <a:pt x="221" y="1348"/>
                  </a:lnTo>
                  <a:lnTo>
                    <a:pt x="224" y="1347"/>
                  </a:lnTo>
                  <a:lnTo>
                    <a:pt x="226" y="1343"/>
                  </a:lnTo>
                  <a:lnTo>
                    <a:pt x="228" y="1341"/>
                  </a:lnTo>
                  <a:lnTo>
                    <a:pt x="229" y="1340"/>
                  </a:lnTo>
                  <a:lnTo>
                    <a:pt x="230" y="1340"/>
                  </a:lnTo>
                  <a:lnTo>
                    <a:pt x="231" y="1340"/>
                  </a:lnTo>
                  <a:lnTo>
                    <a:pt x="232" y="1341"/>
                  </a:lnTo>
                  <a:lnTo>
                    <a:pt x="231" y="1344"/>
                  </a:lnTo>
                  <a:lnTo>
                    <a:pt x="231" y="1345"/>
                  </a:lnTo>
                  <a:lnTo>
                    <a:pt x="231" y="1346"/>
                  </a:lnTo>
                  <a:lnTo>
                    <a:pt x="232" y="1346"/>
                  </a:lnTo>
                  <a:lnTo>
                    <a:pt x="234" y="1345"/>
                  </a:lnTo>
                  <a:lnTo>
                    <a:pt x="235" y="1345"/>
                  </a:lnTo>
                  <a:lnTo>
                    <a:pt x="236" y="1344"/>
                  </a:lnTo>
                  <a:lnTo>
                    <a:pt x="238" y="1341"/>
                  </a:lnTo>
                  <a:lnTo>
                    <a:pt x="240" y="1338"/>
                  </a:lnTo>
                  <a:lnTo>
                    <a:pt x="242" y="1336"/>
                  </a:lnTo>
                  <a:lnTo>
                    <a:pt x="246" y="1334"/>
                  </a:lnTo>
                  <a:lnTo>
                    <a:pt x="252" y="1333"/>
                  </a:lnTo>
                  <a:lnTo>
                    <a:pt x="256" y="1333"/>
                  </a:lnTo>
                  <a:lnTo>
                    <a:pt x="261" y="1333"/>
                  </a:lnTo>
                  <a:lnTo>
                    <a:pt x="266" y="1333"/>
                  </a:lnTo>
                  <a:lnTo>
                    <a:pt x="270" y="1334"/>
                  </a:lnTo>
                  <a:lnTo>
                    <a:pt x="274" y="1336"/>
                  </a:lnTo>
                  <a:lnTo>
                    <a:pt x="279" y="1340"/>
                  </a:lnTo>
                  <a:lnTo>
                    <a:pt x="283" y="1344"/>
                  </a:lnTo>
                  <a:lnTo>
                    <a:pt x="285" y="1346"/>
                  </a:lnTo>
                  <a:lnTo>
                    <a:pt x="286" y="1347"/>
                  </a:lnTo>
                  <a:lnTo>
                    <a:pt x="286" y="1351"/>
                  </a:lnTo>
                  <a:lnTo>
                    <a:pt x="285" y="1353"/>
                  </a:lnTo>
                  <a:lnTo>
                    <a:pt x="284" y="1355"/>
                  </a:lnTo>
                  <a:lnTo>
                    <a:pt x="283" y="1357"/>
                  </a:lnTo>
                  <a:lnTo>
                    <a:pt x="284" y="1359"/>
                  </a:lnTo>
                  <a:lnTo>
                    <a:pt x="285" y="1361"/>
                  </a:lnTo>
                  <a:lnTo>
                    <a:pt x="287" y="1364"/>
                  </a:lnTo>
                  <a:lnTo>
                    <a:pt x="291" y="1368"/>
                  </a:lnTo>
                  <a:lnTo>
                    <a:pt x="301" y="1366"/>
                  </a:lnTo>
                  <a:lnTo>
                    <a:pt x="311" y="1365"/>
                  </a:lnTo>
                  <a:lnTo>
                    <a:pt x="311" y="1361"/>
                  </a:lnTo>
                  <a:lnTo>
                    <a:pt x="314" y="1361"/>
                  </a:lnTo>
                  <a:lnTo>
                    <a:pt x="315" y="1362"/>
                  </a:lnTo>
                  <a:lnTo>
                    <a:pt x="316" y="1364"/>
                  </a:lnTo>
                  <a:lnTo>
                    <a:pt x="316" y="1365"/>
                  </a:lnTo>
                  <a:lnTo>
                    <a:pt x="317" y="1364"/>
                  </a:lnTo>
                  <a:lnTo>
                    <a:pt x="319" y="1363"/>
                  </a:lnTo>
                  <a:lnTo>
                    <a:pt x="320" y="1361"/>
                  </a:lnTo>
                  <a:lnTo>
                    <a:pt x="321" y="1362"/>
                  </a:lnTo>
                  <a:lnTo>
                    <a:pt x="322" y="1363"/>
                  </a:lnTo>
                  <a:lnTo>
                    <a:pt x="322" y="1364"/>
                  </a:lnTo>
                  <a:lnTo>
                    <a:pt x="324" y="1365"/>
                  </a:lnTo>
                  <a:lnTo>
                    <a:pt x="324" y="1362"/>
                  </a:lnTo>
                  <a:lnTo>
                    <a:pt x="325" y="1360"/>
                  </a:lnTo>
                  <a:lnTo>
                    <a:pt x="326" y="1360"/>
                  </a:lnTo>
                  <a:lnTo>
                    <a:pt x="328" y="1361"/>
                  </a:lnTo>
                  <a:lnTo>
                    <a:pt x="326" y="1368"/>
                  </a:lnTo>
                  <a:lnTo>
                    <a:pt x="328" y="1369"/>
                  </a:lnTo>
                  <a:lnTo>
                    <a:pt x="330" y="1369"/>
                  </a:lnTo>
                  <a:lnTo>
                    <a:pt x="332" y="1370"/>
                  </a:lnTo>
                  <a:lnTo>
                    <a:pt x="334" y="1370"/>
                  </a:lnTo>
                  <a:lnTo>
                    <a:pt x="334" y="1372"/>
                  </a:lnTo>
                  <a:lnTo>
                    <a:pt x="334" y="1375"/>
                  </a:lnTo>
                  <a:lnTo>
                    <a:pt x="336" y="1377"/>
                  </a:lnTo>
                  <a:lnTo>
                    <a:pt x="338" y="1380"/>
                  </a:lnTo>
                  <a:lnTo>
                    <a:pt x="339" y="1382"/>
                  </a:lnTo>
                  <a:lnTo>
                    <a:pt x="339" y="1385"/>
                  </a:lnTo>
                  <a:lnTo>
                    <a:pt x="339" y="1389"/>
                  </a:lnTo>
                  <a:lnTo>
                    <a:pt x="339" y="1392"/>
                  </a:lnTo>
                  <a:lnTo>
                    <a:pt x="338" y="1393"/>
                  </a:lnTo>
                  <a:lnTo>
                    <a:pt x="337" y="1403"/>
                  </a:lnTo>
                  <a:lnTo>
                    <a:pt x="337" y="1405"/>
                  </a:lnTo>
                  <a:lnTo>
                    <a:pt x="335" y="1409"/>
                  </a:lnTo>
                  <a:lnTo>
                    <a:pt x="333" y="1412"/>
                  </a:lnTo>
                  <a:lnTo>
                    <a:pt x="332" y="1415"/>
                  </a:lnTo>
                  <a:lnTo>
                    <a:pt x="335" y="1420"/>
                  </a:lnTo>
                  <a:lnTo>
                    <a:pt x="336" y="1424"/>
                  </a:lnTo>
                  <a:lnTo>
                    <a:pt x="336" y="1425"/>
                  </a:lnTo>
                  <a:lnTo>
                    <a:pt x="336" y="1426"/>
                  </a:lnTo>
                  <a:lnTo>
                    <a:pt x="334" y="1428"/>
                  </a:lnTo>
                  <a:lnTo>
                    <a:pt x="333" y="1430"/>
                  </a:lnTo>
                  <a:lnTo>
                    <a:pt x="330" y="1437"/>
                  </a:lnTo>
                  <a:lnTo>
                    <a:pt x="328" y="1446"/>
                  </a:lnTo>
                  <a:lnTo>
                    <a:pt x="326" y="1453"/>
                  </a:lnTo>
                  <a:lnTo>
                    <a:pt x="329" y="1455"/>
                  </a:lnTo>
                  <a:lnTo>
                    <a:pt x="332" y="1458"/>
                  </a:lnTo>
                  <a:lnTo>
                    <a:pt x="333" y="1460"/>
                  </a:lnTo>
                  <a:lnTo>
                    <a:pt x="333" y="1461"/>
                  </a:lnTo>
                  <a:lnTo>
                    <a:pt x="332" y="1463"/>
                  </a:lnTo>
                  <a:lnTo>
                    <a:pt x="330" y="1464"/>
                  </a:lnTo>
                  <a:lnTo>
                    <a:pt x="341" y="1473"/>
                  </a:lnTo>
                  <a:lnTo>
                    <a:pt x="347" y="1478"/>
                  </a:lnTo>
                  <a:lnTo>
                    <a:pt x="351" y="1482"/>
                  </a:lnTo>
                  <a:lnTo>
                    <a:pt x="349" y="1488"/>
                  </a:lnTo>
                  <a:lnTo>
                    <a:pt x="352" y="1490"/>
                  </a:lnTo>
                  <a:lnTo>
                    <a:pt x="356" y="1492"/>
                  </a:lnTo>
                  <a:lnTo>
                    <a:pt x="359" y="1495"/>
                  </a:lnTo>
                  <a:lnTo>
                    <a:pt x="361" y="1496"/>
                  </a:lnTo>
                  <a:lnTo>
                    <a:pt x="362" y="1497"/>
                  </a:lnTo>
                  <a:lnTo>
                    <a:pt x="362" y="1499"/>
                  </a:lnTo>
                  <a:lnTo>
                    <a:pt x="362" y="1500"/>
                  </a:lnTo>
                  <a:lnTo>
                    <a:pt x="363" y="1501"/>
                  </a:lnTo>
                  <a:lnTo>
                    <a:pt x="363" y="1502"/>
                  </a:lnTo>
                  <a:lnTo>
                    <a:pt x="367" y="1509"/>
                  </a:lnTo>
                  <a:lnTo>
                    <a:pt x="367" y="1511"/>
                  </a:lnTo>
                  <a:lnTo>
                    <a:pt x="366" y="1512"/>
                  </a:lnTo>
                  <a:lnTo>
                    <a:pt x="365" y="1513"/>
                  </a:lnTo>
                  <a:lnTo>
                    <a:pt x="365" y="1514"/>
                  </a:lnTo>
                  <a:lnTo>
                    <a:pt x="367" y="1516"/>
                  </a:lnTo>
                  <a:lnTo>
                    <a:pt x="368" y="1517"/>
                  </a:lnTo>
                  <a:lnTo>
                    <a:pt x="369" y="1521"/>
                  </a:lnTo>
                  <a:lnTo>
                    <a:pt x="371" y="1528"/>
                  </a:lnTo>
                  <a:lnTo>
                    <a:pt x="372" y="1532"/>
                  </a:lnTo>
                  <a:lnTo>
                    <a:pt x="373" y="1536"/>
                  </a:lnTo>
                  <a:lnTo>
                    <a:pt x="376" y="1539"/>
                  </a:lnTo>
                  <a:lnTo>
                    <a:pt x="379" y="1541"/>
                  </a:lnTo>
                  <a:lnTo>
                    <a:pt x="380" y="1547"/>
                  </a:lnTo>
                  <a:lnTo>
                    <a:pt x="381" y="1551"/>
                  </a:lnTo>
                  <a:lnTo>
                    <a:pt x="380" y="1555"/>
                  </a:lnTo>
                  <a:lnTo>
                    <a:pt x="381" y="1559"/>
                  </a:lnTo>
                  <a:lnTo>
                    <a:pt x="385" y="1562"/>
                  </a:lnTo>
                  <a:lnTo>
                    <a:pt x="384" y="1569"/>
                  </a:lnTo>
                  <a:lnTo>
                    <a:pt x="382" y="1577"/>
                  </a:lnTo>
                  <a:lnTo>
                    <a:pt x="381" y="1583"/>
                  </a:lnTo>
                  <a:lnTo>
                    <a:pt x="381" y="1589"/>
                  </a:lnTo>
                  <a:lnTo>
                    <a:pt x="383" y="1590"/>
                  </a:lnTo>
                  <a:lnTo>
                    <a:pt x="385" y="1591"/>
                  </a:lnTo>
                  <a:lnTo>
                    <a:pt x="387" y="1598"/>
                  </a:lnTo>
                  <a:lnTo>
                    <a:pt x="388" y="1606"/>
                  </a:lnTo>
                  <a:lnTo>
                    <a:pt x="388" y="1614"/>
                  </a:lnTo>
                  <a:lnTo>
                    <a:pt x="387" y="1618"/>
                  </a:lnTo>
                  <a:lnTo>
                    <a:pt x="386" y="1622"/>
                  </a:lnTo>
                  <a:lnTo>
                    <a:pt x="385" y="1625"/>
                  </a:lnTo>
                  <a:lnTo>
                    <a:pt x="383" y="1627"/>
                  </a:lnTo>
                  <a:lnTo>
                    <a:pt x="380" y="1629"/>
                  </a:lnTo>
                  <a:lnTo>
                    <a:pt x="379" y="1632"/>
                  </a:lnTo>
                  <a:lnTo>
                    <a:pt x="379" y="1633"/>
                  </a:lnTo>
                  <a:lnTo>
                    <a:pt x="379" y="1634"/>
                  </a:lnTo>
                  <a:lnTo>
                    <a:pt x="379" y="1636"/>
                  </a:lnTo>
                  <a:lnTo>
                    <a:pt x="379" y="1637"/>
                  </a:lnTo>
                  <a:lnTo>
                    <a:pt x="378" y="1638"/>
                  </a:lnTo>
                  <a:lnTo>
                    <a:pt x="376" y="1638"/>
                  </a:lnTo>
                  <a:lnTo>
                    <a:pt x="373" y="1639"/>
                  </a:lnTo>
                  <a:lnTo>
                    <a:pt x="372" y="1642"/>
                  </a:lnTo>
                  <a:lnTo>
                    <a:pt x="371" y="1645"/>
                  </a:lnTo>
                  <a:lnTo>
                    <a:pt x="371" y="1648"/>
                  </a:lnTo>
                  <a:lnTo>
                    <a:pt x="371" y="1650"/>
                  </a:lnTo>
                  <a:lnTo>
                    <a:pt x="372" y="1654"/>
                  </a:lnTo>
                  <a:lnTo>
                    <a:pt x="372" y="1657"/>
                  </a:lnTo>
                  <a:lnTo>
                    <a:pt x="371" y="1660"/>
                  </a:lnTo>
                  <a:lnTo>
                    <a:pt x="369" y="1663"/>
                  </a:lnTo>
                  <a:lnTo>
                    <a:pt x="366" y="1668"/>
                  </a:lnTo>
                  <a:lnTo>
                    <a:pt x="363" y="1672"/>
                  </a:lnTo>
                  <a:lnTo>
                    <a:pt x="362" y="1674"/>
                  </a:lnTo>
                  <a:lnTo>
                    <a:pt x="362" y="1676"/>
                  </a:lnTo>
                  <a:lnTo>
                    <a:pt x="361" y="1686"/>
                  </a:lnTo>
                  <a:lnTo>
                    <a:pt x="362" y="1701"/>
                  </a:lnTo>
                  <a:lnTo>
                    <a:pt x="362" y="1713"/>
                  </a:lnTo>
                  <a:lnTo>
                    <a:pt x="363" y="1720"/>
                  </a:lnTo>
                  <a:lnTo>
                    <a:pt x="367" y="1720"/>
                  </a:lnTo>
                  <a:lnTo>
                    <a:pt x="379" y="1733"/>
                  </a:lnTo>
                  <a:lnTo>
                    <a:pt x="380" y="1736"/>
                  </a:lnTo>
                  <a:lnTo>
                    <a:pt x="380" y="1739"/>
                  </a:lnTo>
                  <a:lnTo>
                    <a:pt x="380" y="1744"/>
                  </a:lnTo>
                  <a:lnTo>
                    <a:pt x="380" y="1749"/>
                  </a:lnTo>
                  <a:lnTo>
                    <a:pt x="380" y="1752"/>
                  </a:lnTo>
                  <a:lnTo>
                    <a:pt x="381" y="1754"/>
                  </a:lnTo>
                  <a:lnTo>
                    <a:pt x="382" y="1756"/>
                  </a:lnTo>
                  <a:lnTo>
                    <a:pt x="383" y="1757"/>
                  </a:lnTo>
                  <a:lnTo>
                    <a:pt x="386" y="1760"/>
                  </a:lnTo>
                  <a:lnTo>
                    <a:pt x="389" y="1763"/>
                  </a:lnTo>
                  <a:lnTo>
                    <a:pt x="390" y="1765"/>
                  </a:lnTo>
                  <a:lnTo>
                    <a:pt x="390" y="1766"/>
                  </a:lnTo>
                  <a:lnTo>
                    <a:pt x="391" y="1768"/>
                  </a:lnTo>
                  <a:lnTo>
                    <a:pt x="390" y="1771"/>
                  </a:lnTo>
                  <a:lnTo>
                    <a:pt x="390" y="1773"/>
                  </a:lnTo>
                  <a:lnTo>
                    <a:pt x="390" y="1774"/>
                  </a:lnTo>
                  <a:lnTo>
                    <a:pt x="390" y="1777"/>
                  </a:lnTo>
                  <a:lnTo>
                    <a:pt x="392" y="1778"/>
                  </a:lnTo>
                  <a:lnTo>
                    <a:pt x="394" y="1780"/>
                  </a:lnTo>
                  <a:lnTo>
                    <a:pt x="397" y="1782"/>
                  </a:lnTo>
                  <a:lnTo>
                    <a:pt x="398" y="1783"/>
                  </a:lnTo>
                  <a:lnTo>
                    <a:pt x="398" y="1784"/>
                  </a:lnTo>
                  <a:lnTo>
                    <a:pt x="398" y="1787"/>
                  </a:lnTo>
                  <a:lnTo>
                    <a:pt x="398" y="1790"/>
                  </a:lnTo>
                  <a:lnTo>
                    <a:pt x="397" y="1796"/>
                  </a:lnTo>
                  <a:lnTo>
                    <a:pt x="396" y="1802"/>
                  </a:lnTo>
                  <a:lnTo>
                    <a:pt x="396" y="1805"/>
                  </a:lnTo>
                  <a:lnTo>
                    <a:pt x="396" y="1807"/>
                  </a:lnTo>
                  <a:lnTo>
                    <a:pt x="397" y="1811"/>
                  </a:lnTo>
                  <a:lnTo>
                    <a:pt x="399" y="1815"/>
                  </a:lnTo>
                  <a:lnTo>
                    <a:pt x="402" y="1823"/>
                  </a:lnTo>
                  <a:lnTo>
                    <a:pt x="403" y="1835"/>
                  </a:lnTo>
                  <a:lnTo>
                    <a:pt x="402" y="1845"/>
                  </a:lnTo>
                  <a:lnTo>
                    <a:pt x="402" y="1850"/>
                  </a:lnTo>
                  <a:lnTo>
                    <a:pt x="403" y="1855"/>
                  </a:lnTo>
                  <a:lnTo>
                    <a:pt x="404" y="1860"/>
                  </a:lnTo>
                  <a:lnTo>
                    <a:pt x="406" y="1867"/>
                  </a:lnTo>
                  <a:lnTo>
                    <a:pt x="409" y="1873"/>
                  </a:lnTo>
                  <a:lnTo>
                    <a:pt x="412" y="1876"/>
                  </a:lnTo>
                  <a:lnTo>
                    <a:pt x="413" y="1878"/>
                  </a:lnTo>
                  <a:lnTo>
                    <a:pt x="415" y="1878"/>
                  </a:lnTo>
                  <a:lnTo>
                    <a:pt x="416" y="1878"/>
                  </a:lnTo>
                  <a:lnTo>
                    <a:pt x="418" y="1878"/>
                  </a:lnTo>
                  <a:lnTo>
                    <a:pt x="419" y="1878"/>
                  </a:lnTo>
                  <a:lnTo>
                    <a:pt x="420" y="1879"/>
                  </a:lnTo>
                  <a:lnTo>
                    <a:pt x="420" y="1881"/>
                  </a:lnTo>
                  <a:lnTo>
                    <a:pt x="420" y="1883"/>
                  </a:lnTo>
                  <a:lnTo>
                    <a:pt x="420" y="1885"/>
                  </a:lnTo>
                  <a:lnTo>
                    <a:pt x="421" y="1888"/>
                  </a:lnTo>
                  <a:lnTo>
                    <a:pt x="422" y="1890"/>
                  </a:lnTo>
                  <a:lnTo>
                    <a:pt x="425" y="1892"/>
                  </a:lnTo>
                  <a:lnTo>
                    <a:pt x="427" y="1894"/>
                  </a:lnTo>
                  <a:lnTo>
                    <a:pt x="429" y="1896"/>
                  </a:lnTo>
                  <a:lnTo>
                    <a:pt x="429" y="1904"/>
                  </a:lnTo>
                  <a:lnTo>
                    <a:pt x="429" y="1909"/>
                  </a:lnTo>
                  <a:lnTo>
                    <a:pt x="431" y="1915"/>
                  </a:lnTo>
                  <a:lnTo>
                    <a:pt x="432" y="1916"/>
                  </a:lnTo>
                  <a:lnTo>
                    <a:pt x="434" y="1917"/>
                  </a:lnTo>
                  <a:lnTo>
                    <a:pt x="436" y="1919"/>
                  </a:lnTo>
                  <a:lnTo>
                    <a:pt x="438" y="1923"/>
                  </a:lnTo>
                  <a:lnTo>
                    <a:pt x="440" y="1930"/>
                  </a:lnTo>
                  <a:lnTo>
                    <a:pt x="442" y="1938"/>
                  </a:lnTo>
                  <a:lnTo>
                    <a:pt x="442" y="1941"/>
                  </a:lnTo>
                  <a:lnTo>
                    <a:pt x="442" y="1944"/>
                  </a:lnTo>
                  <a:lnTo>
                    <a:pt x="442" y="1946"/>
                  </a:lnTo>
                  <a:lnTo>
                    <a:pt x="441" y="1948"/>
                  </a:lnTo>
                  <a:lnTo>
                    <a:pt x="439" y="1949"/>
                  </a:lnTo>
                  <a:lnTo>
                    <a:pt x="438" y="1950"/>
                  </a:lnTo>
                  <a:lnTo>
                    <a:pt x="436" y="1952"/>
                  </a:lnTo>
                  <a:lnTo>
                    <a:pt x="435" y="1952"/>
                  </a:lnTo>
                  <a:lnTo>
                    <a:pt x="435" y="1953"/>
                  </a:lnTo>
                  <a:lnTo>
                    <a:pt x="434" y="1955"/>
                  </a:lnTo>
                  <a:lnTo>
                    <a:pt x="438" y="1957"/>
                  </a:lnTo>
                  <a:lnTo>
                    <a:pt x="439" y="1967"/>
                  </a:lnTo>
                  <a:lnTo>
                    <a:pt x="440" y="1974"/>
                  </a:lnTo>
                  <a:lnTo>
                    <a:pt x="441" y="1977"/>
                  </a:lnTo>
                  <a:lnTo>
                    <a:pt x="442" y="1978"/>
                  </a:lnTo>
                  <a:lnTo>
                    <a:pt x="442" y="1980"/>
                  </a:lnTo>
                  <a:lnTo>
                    <a:pt x="448" y="1976"/>
                  </a:lnTo>
                  <a:lnTo>
                    <a:pt x="448" y="1980"/>
                  </a:lnTo>
                  <a:lnTo>
                    <a:pt x="451" y="1980"/>
                  </a:lnTo>
                  <a:lnTo>
                    <a:pt x="454" y="1980"/>
                  </a:lnTo>
                  <a:lnTo>
                    <a:pt x="456" y="1984"/>
                  </a:lnTo>
                  <a:lnTo>
                    <a:pt x="459" y="1984"/>
                  </a:lnTo>
                  <a:lnTo>
                    <a:pt x="462" y="1984"/>
                  </a:lnTo>
                  <a:lnTo>
                    <a:pt x="465" y="1982"/>
                  </a:lnTo>
                  <a:lnTo>
                    <a:pt x="468" y="1981"/>
                  </a:lnTo>
                  <a:lnTo>
                    <a:pt x="472" y="1978"/>
                  </a:lnTo>
                  <a:lnTo>
                    <a:pt x="475" y="1976"/>
                  </a:lnTo>
                  <a:lnTo>
                    <a:pt x="479" y="1976"/>
                  </a:lnTo>
                  <a:lnTo>
                    <a:pt x="482" y="1977"/>
                  </a:lnTo>
                  <a:lnTo>
                    <a:pt x="485" y="1978"/>
                  </a:lnTo>
                  <a:lnTo>
                    <a:pt x="488" y="1978"/>
                  </a:lnTo>
                  <a:lnTo>
                    <a:pt x="491" y="1975"/>
                  </a:lnTo>
                  <a:lnTo>
                    <a:pt x="493" y="1973"/>
                  </a:lnTo>
                  <a:lnTo>
                    <a:pt x="494" y="1972"/>
                  </a:lnTo>
                  <a:lnTo>
                    <a:pt x="499" y="1971"/>
                  </a:lnTo>
                  <a:lnTo>
                    <a:pt x="503" y="1971"/>
                  </a:lnTo>
                  <a:lnTo>
                    <a:pt x="507" y="1972"/>
                  </a:lnTo>
                  <a:lnTo>
                    <a:pt x="510" y="1972"/>
                  </a:lnTo>
                  <a:lnTo>
                    <a:pt x="517" y="1974"/>
                  </a:lnTo>
                  <a:lnTo>
                    <a:pt x="521" y="1974"/>
                  </a:lnTo>
                  <a:lnTo>
                    <a:pt x="525" y="1974"/>
                  </a:lnTo>
                  <a:lnTo>
                    <a:pt x="527" y="1970"/>
                  </a:lnTo>
                  <a:lnTo>
                    <a:pt x="532" y="1971"/>
                  </a:lnTo>
                  <a:lnTo>
                    <a:pt x="538" y="1970"/>
                  </a:lnTo>
                  <a:lnTo>
                    <a:pt x="538" y="1967"/>
                  </a:lnTo>
                  <a:lnTo>
                    <a:pt x="541" y="1966"/>
                  </a:lnTo>
                  <a:lnTo>
                    <a:pt x="543" y="1967"/>
                  </a:lnTo>
                  <a:lnTo>
                    <a:pt x="545" y="1967"/>
                  </a:lnTo>
                  <a:lnTo>
                    <a:pt x="548" y="1967"/>
                  </a:lnTo>
                  <a:lnTo>
                    <a:pt x="550" y="1966"/>
                  </a:lnTo>
                  <a:lnTo>
                    <a:pt x="553" y="1964"/>
                  </a:lnTo>
                  <a:lnTo>
                    <a:pt x="558" y="1961"/>
                  </a:lnTo>
                  <a:lnTo>
                    <a:pt x="563" y="1956"/>
                  </a:lnTo>
                  <a:lnTo>
                    <a:pt x="568" y="1951"/>
                  </a:lnTo>
                  <a:lnTo>
                    <a:pt x="577" y="1940"/>
                  </a:lnTo>
                  <a:lnTo>
                    <a:pt x="584" y="1930"/>
                  </a:lnTo>
                  <a:lnTo>
                    <a:pt x="586" y="1928"/>
                  </a:lnTo>
                  <a:lnTo>
                    <a:pt x="589" y="1926"/>
                  </a:lnTo>
                  <a:lnTo>
                    <a:pt x="592" y="1924"/>
                  </a:lnTo>
                  <a:lnTo>
                    <a:pt x="594" y="1922"/>
                  </a:lnTo>
                  <a:lnTo>
                    <a:pt x="594" y="1921"/>
                  </a:lnTo>
                  <a:lnTo>
                    <a:pt x="594" y="1920"/>
                  </a:lnTo>
                  <a:lnTo>
                    <a:pt x="594" y="1918"/>
                  </a:lnTo>
                  <a:lnTo>
                    <a:pt x="594" y="1917"/>
                  </a:lnTo>
                  <a:lnTo>
                    <a:pt x="596" y="1917"/>
                  </a:lnTo>
                  <a:lnTo>
                    <a:pt x="600" y="1906"/>
                  </a:lnTo>
                  <a:lnTo>
                    <a:pt x="603" y="1900"/>
                  </a:lnTo>
                  <a:lnTo>
                    <a:pt x="605" y="1896"/>
                  </a:lnTo>
                  <a:lnTo>
                    <a:pt x="608" y="1894"/>
                  </a:lnTo>
                  <a:lnTo>
                    <a:pt x="613" y="1891"/>
                  </a:lnTo>
                  <a:lnTo>
                    <a:pt x="621" y="1886"/>
                  </a:lnTo>
                  <a:lnTo>
                    <a:pt x="617" y="1882"/>
                  </a:lnTo>
                  <a:lnTo>
                    <a:pt x="617" y="1879"/>
                  </a:lnTo>
                  <a:lnTo>
                    <a:pt x="617" y="1876"/>
                  </a:lnTo>
                  <a:lnTo>
                    <a:pt x="623" y="1876"/>
                  </a:lnTo>
                  <a:lnTo>
                    <a:pt x="623" y="1867"/>
                  </a:lnTo>
                  <a:lnTo>
                    <a:pt x="624" y="1852"/>
                  </a:lnTo>
                  <a:lnTo>
                    <a:pt x="625" y="1848"/>
                  </a:lnTo>
                  <a:lnTo>
                    <a:pt x="622" y="1845"/>
                  </a:lnTo>
                  <a:lnTo>
                    <a:pt x="620" y="1843"/>
                  </a:lnTo>
                  <a:lnTo>
                    <a:pt x="619" y="1842"/>
                  </a:lnTo>
                  <a:lnTo>
                    <a:pt x="629" y="1834"/>
                  </a:lnTo>
                  <a:lnTo>
                    <a:pt x="634" y="1831"/>
                  </a:lnTo>
                  <a:lnTo>
                    <a:pt x="640" y="1828"/>
                  </a:lnTo>
                  <a:lnTo>
                    <a:pt x="644" y="1827"/>
                  </a:lnTo>
                  <a:lnTo>
                    <a:pt x="647" y="1827"/>
                  </a:lnTo>
                  <a:lnTo>
                    <a:pt x="650" y="1826"/>
                  </a:lnTo>
                  <a:lnTo>
                    <a:pt x="652" y="1826"/>
                  </a:lnTo>
                  <a:lnTo>
                    <a:pt x="653" y="1825"/>
                  </a:lnTo>
                  <a:lnTo>
                    <a:pt x="655" y="1823"/>
                  </a:lnTo>
                  <a:lnTo>
                    <a:pt x="656" y="1820"/>
                  </a:lnTo>
                  <a:lnTo>
                    <a:pt x="657" y="1817"/>
                  </a:lnTo>
                  <a:lnTo>
                    <a:pt x="657" y="1813"/>
                  </a:lnTo>
                  <a:lnTo>
                    <a:pt x="657" y="1804"/>
                  </a:lnTo>
                  <a:lnTo>
                    <a:pt x="656" y="1794"/>
                  </a:lnTo>
                  <a:lnTo>
                    <a:pt x="653" y="1774"/>
                  </a:lnTo>
                  <a:lnTo>
                    <a:pt x="652" y="1766"/>
                  </a:lnTo>
                  <a:lnTo>
                    <a:pt x="651" y="1760"/>
                  </a:lnTo>
                  <a:lnTo>
                    <a:pt x="648" y="1760"/>
                  </a:lnTo>
                  <a:lnTo>
                    <a:pt x="647" y="1756"/>
                  </a:lnTo>
                  <a:lnTo>
                    <a:pt x="647" y="1752"/>
                  </a:lnTo>
                  <a:lnTo>
                    <a:pt x="647" y="1749"/>
                  </a:lnTo>
                  <a:lnTo>
                    <a:pt x="648" y="1747"/>
                  </a:lnTo>
                  <a:lnTo>
                    <a:pt x="648" y="1743"/>
                  </a:lnTo>
                  <a:lnTo>
                    <a:pt x="649" y="1742"/>
                  </a:lnTo>
                  <a:lnTo>
                    <a:pt x="650" y="1742"/>
                  </a:lnTo>
                  <a:lnTo>
                    <a:pt x="652" y="1742"/>
                  </a:lnTo>
                  <a:lnTo>
                    <a:pt x="653" y="1741"/>
                  </a:lnTo>
                  <a:lnTo>
                    <a:pt x="654" y="1739"/>
                  </a:lnTo>
                  <a:lnTo>
                    <a:pt x="655" y="1736"/>
                  </a:lnTo>
                  <a:lnTo>
                    <a:pt x="656" y="1733"/>
                  </a:lnTo>
                  <a:lnTo>
                    <a:pt x="657" y="1731"/>
                  </a:lnTo>
                  <a:lnTo>
                    <a:pt x="661" y="1731"/>
                  </a:lnTo>
                  <a:lnTo>
                    <a:pt x="665" y="1716"/>
                  </a:lnTo>
                  <a:lnTo>
                    <a:pt x="668" y="1715"/>
                  </a:lnTo>
                  <a:lnTo>
                    <a:pt x="671" y="1715"/>
                  </a:lnTo>
                  <a:lnTo>
                    <a:pt x="675" y="1715"/>
                  </a:lnTo>
                  <a:lnTo>
                    <a:pt x="678" y="1714"/>
                  </a:lnTo>
                  <a:lnTo>
                    <a:pt x="679" y="1713"/>
                  </a:lnTo>
                  <a:lnTo>
                    <a:pt x="680" y="1713"/>
                  </a:lnTo>
                  <a:lnTo>
                    <a:pt x="682" y="1710"/>
                  </a:lnTo>
                  <a:lnTo>
                    <a:pt x="684" y="1708"/>
                  </a:lnTo>
                  <a:lnTo>
                    <a:pt x="686" y="1706"/>
                  </a:lnTo>
                  <a:lnTo>
                    <a:pt x="689" y="1706"/>
                  </a:lnTo>
                  <a:lnTo>
                    <a:pt x="691" y="1705"/>
                  </a:lnTo>
                  <a:lnTo>
                    <a:pt x="694" y="1705"/>
                  </a:lnTo>
                  <a:lnTo>
                    <a:pt x="697" y="1704"/>
                  </a:lnTo>
                  <a:lnTo>
                    <a:pt x="703" y="1700"/>
                  </a:lnTo>
                  <a:lnTo>
                    <a:pt x="711" y="1691"/>
                  </a:lnTo>
                  <a:lnTo>
                    <a:pt x="714" y="1686"/>
                  </a:lnTo>
                  <a:lnTo>
                    <a:pt x="717" y="1681"/>
                  </a:lnTo>
                  <a:lnTo>
                    <a:pt x="719" y="1677"/>
                  </a:lnTo>
                  <a:lnTo>
                    <a:pt x="720" y="1675"/>
                  </a:lnTo>
                  <a:lnTo>
                    <a:pt x="720" y="1674"/>
                  </a:lnTo>
                  <a:lnTo>
                    <a:pt x="720" y="1671"/>
                  </a:lnTo>
                  <a:lnTo>
                    <a:pt x="720" y="1668"/>
                  </a:lnTo>
                  <a:lnTo>
                    <a:pt x="719" y="1664"/>
                  </a:lnTo>
                  <a:lnTo>
                    <a:pt x="719" y="1660"/>
                  </a:lnTo>
                  <a:lnTo>
                    <a:pt x="719" y="1654"/>
                  </a:lnTo>
                  <a:lnTo>
                    <a:pt x="721" y="1648"/>
                  </a:lnTo>
                  <a:lnTo>
                    <a:pt x="722" y="1643"/>
                  </a:lnTo>
                  <a:lnTo>
                    <a:pt x="722" y="1639"/>
                  </a:lnTo>
                  <a:lnTo>
                    <a:pt x="722" y="1634"/>
                  </a:lnTo>
                  <a:lnTo>
                    <a:pt x="720" y="1627"/>
                  </a:lnTo>
                  <a:lnTo>
                    <a:pt x="719" y="1614"/>
                  </a:lnTo>
                  <a:lnTo>
                    <a:pt x="719" y="1610"/>
                  </a:lnTo>
                  <a:lnTo>
                    <a:pt x="720" y="1605"/>
                  </a:lnTo>
                  <a:lnTo>
                    <a:pt x="721" y="1601"/>
                  </a:lnTo>
                  <a:lnTo>
                    <a:pt x="721" y="1599"/>
                  </a:lnTo>
                  <a:lnTo>
                    <a:pt x="720" y="1597"/>
                  </a:lnTo>
                  <a:lnTo>
                    <a:pt x="720" y="1595"/>
                  </a:lnTo>
                  <a:lnTo>
                    <a:pt x="718" y="1593"/>
                  </a:lnTo>
                  <a:lnTo>
                    <a:pt x="714" y="1590"/>
                  </a:lnTo>
                  <a:lnTo>
                    <a:pt x="710" y="1586"/>
                  </a:lnTo>
                  <a:lnTo>
                    <a:pt x="708" y="1584"/>
                  </a:lnTo>
                  <a:lnTo>
                    <a:pt x="707" y="1582"/>
                  </a:lnTo>
                  <a:lnTo>
                    <a:pt x="707" y="1569"/>
                  </a:lnTo>
                  <a:lnTo>
                    <a:pt x="707" y="1555"/>
                  </a:lnTo>
                  <a:lnTo>
                    <a:pt x="709" y="1551"/>
                  </a:lnTo>
                  <a:lnTo>
                    <a:pt x="710" y="1549"/>
                  </a:lnTo>
                  <a:lnTo>
                    <a:pt x="711" y="1547"/>
                  </a:lnTo>
                  <a:lnTo>
                    <a:pt x="709" y="1544"/>
                  </a:lnTo>
                  <a:lnTo>
                    <a:pt x="705" y="1541"/>
                  </a:lnTo>
                  <a:lnTo>
                    <a:pt x="701" y="1537"/>
                  </a:lnTo>
                  <a:lnTo>
                    <a:pt x="700" y="1535"/>
                  </a:lnTo>
                  <a:lnTo>
                    <a:pt x="699" y="1534"/>
                  </a:lnTo>
                  <a:lnTo>
                    <a:pt x="699" y="1529"/>
                  </a:lnTo>
                  <a:lnTo>
                    <a:pt x="700" y="1525"/>
                  </a:lnTo>
                  <a:lnTo>
                    <a:pt x="701" y="1521"/>
                  </a:lnTo>
                  <a:lnTo>
                    <a:pt x="703" y="1518"/>
                  </a:lnTo>
                  <a:lnTo>
                    <a:pt x="706" y="1511"/>
                  </a:lnTo>
                  <a:lnTo>
                    <a:pt x="709" y="1505"/>
                  </a:lnTo>
                  <a:lnTo>
                    <a:pt x="709" y="1501"/>
                  </a:lnTo>
                  <a:lnTo>
                    <a:pt x="709" y="1497"/>
                  </a:lnTo>
                  <a:lnTo>
                    <a:pt x="708" y="1493"/>
                  </a:lnTo>
                  <a:lnTo>
                    <a:pt x="709" y="1489"/>
                  </a:lnTo>
                  <a:lnTo>
                    <a:pt x="713" y="1489"/>
                  </a:lnTo>
                  <a:lnTo>
                    <a:pt x="713" y="1488"/>
                  </a:lnTo>
                  <a:lnTo>
                    <a:pt x="714" y="1485"/>
                  </a:lnTo>
                  <a:lnTo>
                    <a:pt x="715" y="1482"/>
                  </a:lnTo>
                  <a:lnTo>
                    <a:pt x="719" y="1478"/>
                  </a:lnTo>
                  <a:lnTo>
                    <a:pt x="724" y="1478"/>
                  </a:lnTo>
                  <a:lnTo>
                    <a:pt x="725" y="1477"/>
                  </a:lnTo>
                  <a:lnTo>
                    <a:pt x="725" y="1476"/>
                  </a:lnTo>
                  <a:lnTo>
                    <a:pt x="726" y="1473"/>
                  </a:lnTo>
                  <a:lnTo>
                    <a:pt x="727" y="1470"/>
                  </a:lnTo>
                  <a:lnTo>
                    <a:pt x="728" y="1468"/>
                  </a:lnTo>
                  <a:lnTo>
                    <a:pt x="730" y="1468"/>
                  </a:lnTo>
                  <a:lnTo>
                    <a:pt x="732" y="1468"/>
                  </a:lnTo>
                  <a:lnTo>
                    <a:pt x="734" y="1467"/>
                  </a:lnTo>
                  <a:lnTo>
                    <a:pt x="736" y="1466"/>
                  </a:lnTo>
                  <a:lnTo>
                    <a:pt x="736" y="1465"/>
                  </a:lnTo>
                  <a:lnTo>
                    <a:pt x="736" y="1463"/>
                  </a:lnTo>
                  <a:lnTo>
                    <a:pt x="736" y="1460"/>
                  </a:lnTo>
                  <a:lnTo>
                    <a:pt x="736" y="1459"/>
                  </a:lnTo>
                  <a:lnTo>
                    <a:pt x="737" y="1457"/>
                  </a:lnTo>
                  <a:lnTo>
                    <a:pt x="739" y="1456"/>
                  </a:lnTo>
                  <a:lnTo>
                    <a:pt x="742" y="1453"/>
                  </a:lnTo>
                  <a:lnTo>
                    <a:pt x="743" y="1450"/>
                  </a:lnTo>
                  <a:lnTo>
                    <a:pt x="743" y="1447"/>
                  </a:lnTo>
                  <a:lnTo>
                    <a:pt x="743" y="1444"/>
                  </a:lnTo>
                  <a:lnTo>
                    <a:pt x="743" y="1443"/>
                  </a:lnTo>
                  <a:lnTo>
                    <a:pt x="743" y="1441"/>
                  </a:lnTo>
                  <a:lnTo>
                    <a:pt x="745" y="1438"/>
                  </a:lnTo>
                  <a:lnTo>
                    <a:pt x="749" y="1438"/>
                  </a:lnTo>
                  <a:lnTo>
                    <a:pt x="751" y="1435"/>
                  </a:lnTo>
                  <a:lnTo>
                    <a:pt x="754" y="1429"/>
                  </a:lnTo>
                  <a:lnTo>
                    <a:pt x="759" y="1420"/>
                  </a:lnTo>
                  <a:lnTo>
                    <a:pt x="760" y="1420"/>
                  </a:lnTo>
                  <a:lnTo>
                    <a:pt x="763" y="1419"/>
                  </a:lnTo>
                  <a:lnTo>
                    <a:pt x="765" y="1419"/>
                  </a:lnTo>
                  <a:lnTo>
                    <a:pt x="767" y="1418"/>
                  </a:lnTo>
                  <a:lnTo>
                    <a:pt x="768" y="1416"/>
                  </a:lnTo>
                  <a:lnTo>
                    <a:pt x="770" y="1413"/>
                  </a:lnTo>
                  <a:lnTo>
                    <a:pt x="772" y="1411"/>
                  </a:lnTo>
                  <a:lnTo>
                    <a:pt x="773" y="1409"/>
                  </a:lnTo>
                  <a:lnTo>
                    <a:pt x="774" y="1409"/>
                  </a:lnTo>
                  <a:lnTo>
                    <a:pt x="776" y="1409"/>
                  </a:lnTo>
                  <a:lnTo>
                    <a:pt x="777" y="1409"/>
                  </a:lnTo>
                  <a:lnTo>
                    <a:pt x="779" y="1409"/>
                  </a:lnTo>
                  <a:lnTo>
                    <a:pt x="780" y="1409"/>
                  </a:lnTo>
                  <a:lnTo>
                    <a:pt x="787" y="1402"/>
                  </a:lnTo>
                  <a:lnTo>
                    <a:pt x="791" y="1399"/>
                  </a:lnTo>
                  <a:lnTo>
                    <a:pt x="793" y="1395"/>
                  </a:lnTo>
                  <a:lnTo>
                    <a:pt x="794" y="1394"/>
                  </a:lnTo>
                  <a:lnTo>
                    <a:pt x="794" y="1391"/>
                  </a:lnTo>
                  <a:lnTo>
                    <a:pt x="795" y="1389"/>
                  </a:lnTo>
                  <a:lnTo>
                    <a:pt x="795" y="1388"/>
                  </a:lnTo>
                  <a:lnTo>
                    <a:pt x="797" y="1387"/>
                  </a:lnTo>
                  <a:lnTo>
                    <a:pt x="798" y="1386"/>
                  </a:lnTo>
                  <a:lnTo>
                    <a:pt x="800" y="1386"/>
                  </a:lnTo>
                  <a:lnTo>
                    <a:pt x="803" y="1385"/>
                  </a:lnTo>
                  <a:lnTo>
                    <a:pt x="805" y="1384"/>
                  </a:lnTo>
                  <a:lnTo>
                    <a:pt x="805" y="1382"/>
                  </a:lnTo>
                  <a:lnTo>
                    <a:pt x="805" y="1380"/>
                  </a:lnTo>
                  <a:lnTo>
                    <a:pt x="805" y="1378"/>
                  </a:lnTo>
                  <a:lnTo>
                    <a:pt x="805" y="1376"/>
                  </a:lnTo>
                  <a:lnTo>
                    <a:pt x="806" y="1375"/>
                  </a:lnTo>
                  <a:lnTo>
                    <a:pt x="807" y="1375"/>
                  </a:lnTo>
                  <a:lnTo>
                    <a:pt x="809" y="1373"/>
                  </a:lnTo>
                  <a:lnTo>
                    <a:pt x="812" y="1372"/>
                  </a:lnTo>
                  <a:lnTo>
                    <a:pt x="815" y="1370"/>
                  </a:lnTo>
                  <a:lnTo>
                    <a:pt x="815" y="1368"/>
                  </a:lnTo>
                  <a:lnTo>
                    <a:pt x="816" y="1366"/>
                  </a:lnTo>
                  <a:lnTo>
                    <a:pt x="816" y="1363"/>
                  </a:lnTo>
                  <a:lnTo>
                    <a:pt x="816" y="1361"/>
                  </a:lnTo>
                  <a:lnTo>
                    <a:pt x="819" y="1358"/>
                  </a:lnTo>
                  <a:lnTo>
                    <a:pt x="822" y="1355"/>
                  </a:lnTo>
                  <a:lnTo>
                    <a:pt x="824" y="1349"/>
                  </a:lnTo>
                  <a:lnTo>
                    <a:pt x="825" y="1344"/>
                  </a:lnTo>
                  <a:lnTo>
                    <a:pt x="826" y="1340"/>
                  </a:lnTo>
                  <a:lnTo>
                    <a:pt x="828" y="1334"/>
                  </a:lnTo>
                  <a:lnTo>
                    <a:pt x="832" y="1334"/>
                  </a:lnTo>
                  <a:lnTo>
                    <a:pt x="834" y="1328"/>
                  </a:lnTo>
                  <a:lnTo>
                    <a:pt x="835" y="1321"/>
                  </a:lnTo>
                  <a:lnTo>
                    <a:pt x="836" y="1315"/>
                  </a:lnTo>
                  <a:lnTo>
                    <a:pt x="838" y="1309"/>
                  </a:lnTo>
                  <a:lnTo>
                    <a:pt x="839" y="1307"/>
                  </a:lnTo>
                  <a:lnTo>
                    <a:pt x="840" y="1304"/>
                  </a:lnTo>
                  <a:lnTo>
                    <a:pt x="843" y="1300"/>
                  </a:lnTo>
                  <a:lnTo>
                    <a:pt x="847" y="1296"/>
                  </a:lnTo>
                  <a:lnTo>
                    <a:pt x="849" y="1292"/>
                  </a:lnTo>
                  <a:lnTo>
                    <a:pt x="849" y="1290"/>
                  </a:lnTo>
                  <a:lnTo>
                    <a:pt x="849" y="1288"/>
                  </a:lnTo>
                  <a:lnTo>
                    <a:pt x="849" y="1286"/>
                  </a:lnTo>
                  <a:lnTo>
                    <a:pt x="849" y="1284"/>
                  </a:lnTo>
                  <a:lnTo>
                    <a:pt x="853" y="1282"/>
                  </a:lnTo>
                  <a:lnTo>
                    <a:pt x="853" y="1279"/>
                  </a:lnTo>
                  <a:lnTo>
                    <a:pt x="853" y="1276"/>
                  </a:lnTo>
                  <a:lnTo>
                    <a:pt x="853" y="1273"/>
                  </a:lnTo>
                  <a:lnTo>
                    <a:pt x="853" y="1271"/>
                  </a:lnTo>
                  <a:lnTo>
                    <a:pt x="857" y="1267"/>
                  </a:lnTo>
                  <a:lnTo>
                    <a:pt x="859" y="1248"/>
                  </a:lnTo>
                  <a:lnTo>
                    <a:pt x="857" y="1242"/>
                  </a:lnTo>
                  <a:lnTo>
                    <a:pt x="853" y="1242"/>
                  </a:lnTo>
                  <a:lnTo>
                    <a:pt x="851" y="1243"/>
                  </a:lnTo>
                  <a:lnTo>
                    <a:pt x="847" y="1246"/>
                  </a:lnTo>
                  <a:lnTo>
                    <a:pt x="844" y="1248"/>
                  </a:lnTo>
                  <a:lnTo>
                    <a:pt x="843" y="1249"/>
                  </a:lnTo>
                  <a:lnTo>
                    <a:pt x="841" y="1249"/>
                  </a:lnTo>
                  <a:lnTo>
                    <a:pt x="837" y="1250"/>
                  </a:lnTo>
                  <a:lnTo>
                    <a:pt x="833" y="1251"/>
                  </a:lnTo>
                  <a:lnTo>
                    <a:pt x="826" y="1251"/>
                  </a:lnTo>
                  <a:lnTo>
                    <a:pt x="819" y="1251"/>
                  </a:lnTo>
                  <a:lnTo>
                    <a:pt x="816" y="1252"/>
                  </a:lnTo>
                  <a:lnTo>
                    <a:pt x="813" y="1253"/>
                  </a:lnTo>
                  <a:lnTo>
                    <a:pt x="811" y="1255"/>
                  </a:lnTo>
                  <a:lnTo>
                    <a:pt x="808" y="1257"/>
                  </a:lnTo>
                  <a:lnTo>
                    <a:pt x="807" y="1259"/>
                  </a:lnTo>
                  <a:lnTo>
                    <a:pt x="806" y="1260"/>
                  </a:lnTo>
                  <a:lnTo>
                    <a:pt x="805" y="1260"/>
                  </a:lnTo>
                  <a:lnTo>
                    <a:pt x="803" y="1261"/>
                  </a:lnTo>
                  <a:lnTo>
                    <a:pt x="798" y="1261"/>
                  </a:lnTo>
                  <a:lnTo>
                    <a:pt x="793" y="1260"/>
                  </a:lnTo>
                  <a:lnTo>
                    <a:pt x="788" y="1259"/>
                  </a:lnTo>
                  <a:lnTo>
                    <a:pt x="785" y="1259"/>
                  </a:lnTo>
                  <a:lnTo>
                    <a:pt x="782" y="1259"/>
                  </a:lnTo>
                  <a:lnTo>
                    <a:pt x="778" y="1261"/>
                  </a:lnTo>
                  <a:lnTo>
                    <a:pt x="776" y="1262"/>
                  </a:lnTo>
                  <a:lnTo>
                    <a:pt x="774" y="1263"/>
                  </a:lnTo>
                  <a:lnTo>
                    <a:pt x="773" y="1262"/>
                  </a:lnTo>
                  <a:lnTo>
                    <a:pt x="772" y="1262"/>
                  </a:lnTo>
                  <a:lnTo>
                    <a:pt x="769" y="1259"/>
                  </a:lnTo>
                  <a:lnTo>
                    <a:pt x="767" y="1256"/>
                  </a:lnTo>
                  <a:lnTo>
                    <a:pt x="764" y="1252"/>
                  </a:lnTo>
                  <a:lnTo>
                    <a:pt x="761" y="1246"/>
                  </a:lnTo>
                  <a:lnTo>
                    <a:pt x="759" y="1244"/>
                  </a:lnTo>
                  <a:lnTo>
                    <a:pt x="755" y="1244"/>
                  </a:lnTo>
                  <a:lnTo>
                    <a:pt x="758" y="1240"/>
                  </a:lnTo>
                  <a:lnTo>
                    <a:pt x="760" y="1238"/>
                  </a:lnTo>
                  <a:lnTo>
                    <a:pt x="761" y="1236"/>
                  </a:lnTo>
                  <a:lnTo>
                    <a:pt x="761" y="1234"/>
                  </a:lnTo>
                  <a:lnTo>
                    <a:pt x="761" y="1232"/>
                  </a:lnTo>
                  <a:lnTo>
                    <a:pt x="760" y="1230"/>
                  </a:lnTo>
                  <a:lnTo>
                    <a:pt x="761" y="1228"/>
                  </a:lnTo>
                  <a:lnTo>
                    <a:pt x="757" y="1226"/>
                  </a:lnTo>
                  <a:lnTo>
                    <a:pt x="753" y="1224"/>
                  </a:lnTo>
                  <a:lnTo>
                    <a:pt x="750" y="1222"/>
                  </a:lnTo>
                  <a:lnTo>
                    <a:pt x="748" y="1220"/>
                  </a:lnTo>
                  <a:lnTo>
                    <a:pt x="747" y="1219"/>
                  </a:lnTo>
                  <a:lnTo>
                    <a:pt x="747" y="1216"/>
                  </a:lnTo>
                  <a:lnTo>
                    <a:pt x="747" y="1213"/>
                  </a:lnTo>
                  <a:lnTo>
                    <a:pt x="747" y="1211"/>
                  </a:lnTo>
                  <a:lnTo>
                    <a:pt x="746" y="1210"/>
                  </a:lnTo>
                  <a:lnTo>
                    <a:pt x="745" y="1209"/>
                  </a:lnTo>
                  <a:lnTo>
                    <a:pt x="743" y="1208"/>
                  </a:lnTo>
                  <a:lnTo>
                    <a:pt x="740" y="1207"/>
                  </a:lnTo>
                  <a:lnTo>
                    <a:pt x="738" y="1207"/>
                  </a:lnTo>
                  <a:lnTo>
                    <a:pt x="737" y="1206"/>
                  </a:lnTo>
                  <a:lnTo>
                    <a:pt x="736" y="1205"/>
                  </a:lnTo>
                  <a:lnTo>
                    <a:pt x="735" y="1203"/>
                  </a:lnTo>
                  <a:lnTo>
                    <a:pt x="734" y="1199"/>
                  </a:lnTo>
                  <a:lnTo>
                    <a:pt x="733" y="1196"/>
                  </a:lnTo>
                  <a:lnTo>
                    <a:pt x="732" y="1194"/>
                  </a:lnTo>
                  <a:lnTo>
                    <a:pt x="731" y="1193"/>
                  </a:lnTo>
                  <a:lnTo>
                    <a:pt x="729" y="1194"/>
                  </a:lnTo>
                  <a:lnTo>
                    <a:pt x="728" y="1194"/>
                  </a:lnTo>
                  <a:lnTo>
                    <a:pt x="726" y="1194"/>
                  </a:lnTo>
                  <a:lnTo>
                    <a:pt x="724" y="1192"/>
                  </a:lnTo>
                  <a:lnTo>
                    <a:pt x="722" y="1188"/>
                  </a:lnTo>
                  <a:lnTo>
                    <a:pt x="719" y="1182"/>
                  </a:lnTo>
                  <a:lnTo>
                    <a:pt x="717" y="1184"/>
                  </a:lnTo>
                  <a:lnTo>
                    <a:pt x="716" y="1184"/>
                  </a:lnTo>
                  <a:lnTo>
                    <a:pt x="715" y="1184"/>
                  </a:lnTo>
                  <a:lnTo>
                    <a:pt x="715" y="1182"/>
                  </a:lnTo>
                  <a:lnTo>
                    <a:pt x="713" y="1181"/>
                  </a:lnTo>
                  <a:lnTo>
                    <a:pt x="711" y="1180"/>
                  </a:lnTo>
                  <a:lnTo>
                    <a:pt x="710" y="1176"/>
                  </a:lnTo>
                  <a:lnTo>
                    <a:pt x="709" y="1172"/>
                  </a:lnTo>
                  <a:lnTo>
                    <a:pt x="708" y="1161"/>
                  </a:lnTo>
                  <a:lnTo>
                    <a:pt x="708" y="1155"/>
                  </a:lnTo>
                  <a:lnTo>
                    <a:pt x="707" y="1150"/>
                  </a:lnTo>
                  <a:lnTo>
                    <a:pt x="707" y="1146"/>
                  </a:lnTo>
                  <a:lnTo>
                    <a:pt x="706" y="1144"/>
                  </a:lnTo>
                  <a:lnTo>
                    <a:pt x="705" y="1142"/>
                  </a:lnTo>
                  <a:lnTo>
                    <a:pt x="701" y="1142"/>
                  </a:lnTo>
                  <a:lnTo>
                    <a:pt x="692" y="1133"/>
                  </a:lnTo>
                  <a:lnTo>
                    <a:pt x="687" y="1126"/>
                  </a:lnTo>
                  <a:lnTo>
                    <a:pt x="684" y="1123"/>
                  </a:lnTo>
                  <a:lnTo>
                    <a:pt x="683" y="1118"/>
                  </a:lnTo>
                  <a:lnTo>
                    <a:pt x="683" y="1113"/>
                  </a:lnTo>
                  <a:lnTo>
                    <a:pt x="683" y="1109"/>
                  </a:lnTo>
                  <a:lnTo>
                    <a:pt x="684" y="1105"/>
                  </a:lnTo>
                  <a:lnTo>
                    <a:pt x="685" y="1097"/>
                  </a:lnTo>
                  <a:lnTo>
                    <a:pt x="685" y="1093"/>
                  </a:lnTo>
                  <a:lnTo>
                    <a:pt x="684" y="1088"/>
                  </a:lnTo>
                  <a:lnTo>
                    <a:pt x="680" y="1086"/>
                  </a:lnTo>
                  <a:lnTo>
                    <a:pt x="680" y="1085"/>
                  </a:lnTo>
                  <a:lnTo>
                    <a:pt x="680" y="1084"/>
                  </a:lnTo>
                  <a:lnTo>
                    <a:pt x="680" y="1081"/>
                  </a:lnTo>
                  <a:lnTo>
                    <a:pt x="681" y="1079"/>
                  </a:lnTo>
                  <a:lnTo>
                    <a:pt x="680" y="1077"/>
                  </a:lnTo>
                  <a:lnTo>
                    <a:pt x="674" y="1072"/>
                  </a:lnTo>
                  <a:lnTo>
                    <a:pt x="669" y="1069"/>
                  </a:lnTo>
                  <a:lnTo>
                    <a:pt x="667" y="1067"/>
                  </a:lnTo>
                  <a:lnTo>
                    <a:pt x="665" y="1063"/>
                  </a:lnTo>
                  <a:lnTo>
                    <a:pt x="663" y="1057"/>
                  </a:lnTo>
                  <a:lnTo>
                    <a:pt x="661" y="1048"/>
                  </a:lnTo>
                  <a:lnTo>
                    <a:pt x="663" y="1047"/>
                  </a:lnTo>
                  <a:lnTo>
                    <a:pt x="664" y="1047"/>
                  </a:lnTo>
                  <a:lnTo>
                    <a:pt x="665" y="1047"/>
                  </a:lnTo>
                  <a:lnTo>
                    <a:pt x="665" y="1044"/>
                  </a:lnTo>
                  <a:lnTo>
                    <a:pt x="663" y="1040"/>
                  </a:lnTo>
                  <a:lnTo>
                    <a:pt x="660" y="1036"/>
                  </a:lnTo>
                  <a:lnTo>
                    <a:pt x="655" y="1029"/>
                  </a:lnTo>
                  <a:lnTo>
                    <a:pt x="652" y="1022"/>
                  </a:lnTo>
                  <a:lnTo>
                    <a:pt x="650" y="1016"/>
                  </a:lnTo>
                  <a:lnTo>
                    <a:pt x="648" y="1010"/>
                  </a:lnTo>
                  <a:lnTo>
                    <a:pt x="646" y="1002"/>
                  </a:lnTo>
                  <a:lnTo>
                    <a:pt x="644" y="999"/>
                  </a:lnTo>
                  <a:lnTo>
                    <a:pt x="642" y="996"/>
                  </a:lnTo>
                  <a:lnTo>
                    <a:pt x="639" y="993"/>
                  </a:lnTo>
                  <a:lnTo>
                    <a:pt x="638" y="990"/>
                  </a:lnTo>
                  <a:lnTo>
                    <a:pt x="638" y="986"/>
                  </a:lnTo>
                  <a:lnTo>
                    <a:pt x="638" y="983"/>
                  </a:lnTo>
                  <a:lnTo>
                    <a:pt x="636" y="980"/>
                  </a:lnTo>
                  <a:lnTo>
                    <a:pt x="634" y="977"/>
                  </a:lnTo>
                  <a:lnTo>
                    <a:pt x="632" y="975"/>
                  </a:lnTo>
                  <a:lnTo>
                    <a:pt x="630" y="971"/>
                  </a:lnTo>
                  <a:lnTo>
                    <a:pt x="628" y="966"/>
                  </a:lnTo>
                  <a:lnTo>
                    <a:pt x="628" y="964"/>
                  </a:lnTo>
                  <a:lnTo>
                    <a:pt x="628" y="963"/>
                  </a:lnTo>
                  <a:lnTo>
                    <a:pt x="629" y="963"/>
                  </a:lnTo>
                  <a:lnTo>
                    <a:pt x="630" y="963"/>
                  </a:lnTo>
                  <a:lnTo>
                    <a:pt x="632" y="965"/>
                  </a:lnTo>
                  <a:lnTo>
                    <a:pt x="633" y="966"/>
                  </a:lnTo>
                  <a:lnTo>
                    <a:pt x="634" y="969"/>
                  </a:lnTo>
                  <a:lnTo>
                    <a:pt x="634" y="973"/>
                  </a:lnTo>
                  <a:lnTo>
                    <a:pt x="635" y="975"/>
                  </a:lnTo>
                  <a:lnTo>
                    <a:pt x="636" y="977"/>
                  </a:lnTo>
                  <a:lnTo>
                    <a:pt x="638" y="979"/>
                  </a:lnTo>
                  <a:lnTo>
                    <a:pt x="641" y="982"/>
                  </a:lnTo>
                  <a:lnTo>
                    <a:pt x="646" y="986"/>
                  </a:lnTo>
                  <a:lnTo>
                    <a:pt x="647" y="985"/>
                  </a:lnTo>
                  <a:lnTo>
                    <a:pt x="648" y="985"/>
                  </a:lnTo>
                  <a:lnTo>
                    <a:pt x="651" y="984"/>
                  </a:lnTo>
                  <a:lnTo>
                    <a:pt x="651" y="981"/>
                  </a:lnTo>
                  <a:lnTo>
                    <a:pt x="651" y="979"/>
                  </a:lnTo>
                  <a:lnTo>
                    <a:pt x="658" y="982"/>
                  </a:lnTo>
                  <a:lnTo>
                    <a:pt x="662" y="986"/>
                  </a:lnTo>
                  <a:lnTo>
                    <a:pt x="664" y="989"/>
                  </a:lnTo>
                  <a:lnTo>
                    <a:pt x="666" y="992"/>
                  </a:lnTo>
                  <a:lnTo>
                    <a:pt x="669" y="999"/>
                  </a:lnTo>
                  <a:lnTo>
                    <a:pt x="671" y="1004"/>
                  </a:lnTo>
                  <a:lnTo>
                    <a:pt x="674" y="1009"/>
                  </a:lnTo>
                  <a:lnTo>
                    <a:pt x="676" y="1011"/>
                  </a:lnTo>
                  <a:lnTo>
                    <a:pt x="679" y="1013"/>
                  </a:lnTo>
                  <a:lnTo>
                    <a:pt x="682" y="1015"/>
                  </a:lnTo>
                  <a:lnTo>
                    <a:pt x="684" y="1017"/>
                  </a:lnTo>
                  <a:lnTo>
                    <a:pt x="685" y="1020"/>
                  </a:lnTo>
                  <a:lnTo>
                    <a:pt x="685" y="1022"/>
                  </a:lnTo>
                  <a:lnTo>
                    <a:pt x="686" y="1028"/>
                  </a:lnTo>
                  <a:lnTo>
                    <a:pt x="686" y="1031"/>
                  </a:lnTo>
                  <a:lnTo>
                    <a:pt x="686" y="1033"/>
                  </a:lnTo>
                  <a:lnTo>
                    <a:pt x="687" y="1036"/>
                  </a:lnTo>
                  <a:lnTo>
                    <a:pt x="688" y="1038"/>
                  </a:lnTo>
                  <a:lnTo>
                    <a:pt x="689" y="1040"/>
                  </a:lnTo>
                  <a:lnTo>
                    <a:pt x="692" y="1042"/>
                  </a:lnTo>
                  <a:lnTo>
                    <a:pt x="697" y="1046"/>
                  </a:lnTo>
                  <a:lnTo>
                    <a:pt x="702" y="1051"/>
                  </a:lnTo>
                  <a:lnTo>
                    <a:pt x="704" y="1054"/>
                  </a:lnTo>
                  <a:lnTo>
                    <a:pt x="705" y="1057"/>
                  </a:lnTo>
                  <a:lnTo>
                    <a:pt x="705" y="1060"/>
                  </a:lnTo>
                  <a:lnTo>
                    <a:pt x="705" y="1062"/>
                  </a:lnTo>
                  <a:lnTo>
                    <a:pt x="703" y="1067"/>
                  </a:lnTo>
                  <a:lnTo>
                    <a:pt x="704" y="1076"/>
                  </a:lnTo>
                  <a:lnTo>
                    <a:pt x="704" y="1080"/>
                  </a:lnTo>
                  <a:lnTo>
                    <a:pt x="705" y="1082"/>
                  </a:lnTo>
                  <a:lnTo>
                    <a:pt x="706" y="1084"/>
                  </a:lnTo>
                  <a:lnTo>
                    <a:pt x="707" y="1084"/>
                  </a:lnTo>
                  <a:lnTo>
                    <a:pt x="707" y="1090"/>
                  </a:lnTo>
                  <a:lnTo>
                    <a:pt x="707" y="1095"/>
                  </a:lnTo>
                  <a:lnTo>
                    <a:pt x="708" y="1100"/>
                  </a:lnTo>
                  <a:lnTo>
                    <a:pt x="709" y="1105"/>
                  </a:lnTo>
                  <a:lnTo>
                    <a:pt x="711" y="1108"/>
                  </a:lnTo>
                  <a:lnTo>
                    <a:pt x="713" y="1111"/>
                  </a:lnTo>
                  <a:lnTo>
                    <a:pt x="716" y="1113"/>
                  </a:lnTo>
                  <a:lnTo>
                    <a:pt x="719" y="1115"/>
                  </a:lnTo>
                  <a:lnTo>
                    <a:pt x="725" y="1118"/>
                  </a:lnTo>
                  <a:lnTo>
                    <a:pt x="728" y="1120"/>
                  </a:lnTo>
                  <a:lnTo>
                    <a:pt x="730" y="1123"/>
                  </a:lnTo>
                  <a:lnTo>
                    <a:pt x="731" y="1125"/>
                  </a:lnTo>
                  <a:lnTo>
                    <a:pt x="732" y="1128"/>
                  </a:lnTo>
                  <a:lnTo>
                    <a:pt x="733" y="1134"/>
                  </a:lnTo>
                  <a:lnTo>
                    <a:pt x="734" y="1140"/>
                  </a:lnTo>
                  <a:lnTo>
                    <a:pt x="735" y="1143"/>
                  </a:lnTo>
                  <a:lnTo>
                    <a:pt x="736" y="1146"/>
                  </a:lnTo>
                  <a:lnTo>
                    <a:pt x="744" y="1150"/>
                  </a:lnTo>
                  <a:lnTo>
                    <a:pt x="753" y="1165"/>
                  </a:lnTo>
                  <a:lnTo>
                    <a:pt x="753" y="1169"/>
                  </a:lnTo>
                  <a:lnTo>
                    <a:pt x="752" y="1173"/>
                  </a:lnTo>
                  <a:lnTo>
                    <a:pt x="751" y="1176"/>
                  </a:lnTo>
                  <a:lnTo>
                    <a:pt x="751" y="1180"/>
                  </a:lnTo>
                  <a:lnTo>
                    <a:pt x="752" y="1183"/>
                  </a:lnTo>
                  <a:lnTo>
                    <a:pt x="753" y="1189"/>
                  </a:lnTo>
                  <a:lnTo>
                    <a:pt x="754" y="1197"/>
                  </a:lnTo>
                  <a:lnTo>
                    <a:pt x="755" y="1203"/>
                  </a:lnTo>
                  <a:lnTo>
                    <a:pt x="754" y="1202"/>
                  </a:lnTo>
                  <a:lnTo>
                    <a:pt x="753" y="1203"/>
                  </a:lnTo>
                  <a:lnTo>
                    <a:pt x="753" y="1205"/>
                  </a:lnTo>
                  <a:lnTo>
                    <a:pt x="756" y="1208"/>
                  </a:lnTo>
                  <a:lnTo>
                    <a:pt x="758" y="1210"/>
                  </a:lnTo>
                  <a:lnTo>
                    <a:pt x="759" y="1211"/>
                  </a:lnTo>
                  <a:lnTo>
                    <a:pt x="760" y="1215"/>
                  </a:lnTo>
                  <a:lnTo>
                    <a:pt x="760" y="1219"/>
                  </a:lnTo>
                  <a:lnTo>
                    <a:pt x="760" y="1222"/>
                  </a:lnTo>
                  <a:lnTo>
                    <a:pt x="761" y="1225"/>
                  </a:lnTo>
                  <a:lnTo>
                    <a:pt x="762" y="1227"/>
                  </a:lnTo>
                  <a:lnTo>
                    <a:pt x="763" y="1227"/>
                  </a:lnTo>
                  <a:lnTo>
                    <a:pt x="765" y="1228"/>
                  </a:lnTo>
                  <a:lnTo>
                    <a:pt x="769" y="1228"/>
                  </a:lnTo>
                  <a:lnTo>
                    <a:pt x="774" y="1228"/>
                  </a:lnTo>
                  <a:lnTo>
                    <a:pt x="777" y="1228"/>
                  </a:lnTo>
                  <a:lnTo>
                    <a:pt x="780" y="1227"/>
                  </a:lnTo>
                  <a:lnTo>
                    <a:pt x="784" y="1223"/>
                  </a:lnTo>
                  <a:lnTo>
                    <a:pt x="789" y="1219"/>
                  </a:lnTo>
                  <a:lnTo>
                    <a:pt x="791" y="1218"/>
                  </a:lnTo>
                  <a:lnTo>
                    <a:pt x="793" y="1217"/>
                  </a:lnTo>
                  <a:lnTo>
                    <a:pt x="796" y="1216"/>
                  </a:lnTo>
                  <a:lnTo>
                    <a:pt x="799" y="1217"/>
                  </a:lnTo>
                  <a:lnTo>
                    <a:pt x="802" y="1217"/>
                  </a:lnTo>
                  <a:lnTo>
                    <a:pt x="805" y="1217"/>
                  </a:lnTo>
                  <a:lnTo>
                    <a:pt x="807" y="1215"/>
                  </a:lnTo>
                  <a:lnTo>
                    <a:pt x="811" y="1213"/>
                  </a:lnTo>
                  <a:lnTo>
                    <a:pt x="813" y="1215"/>
                  </a:lnTo>
                  <a:lnTo>
                    <a:pt x="815" y="1216"/>
                  </a:lnTo>
                  <a:lnTo>
                    <a:pt x="817" y="1216"/>
                  </a:lnTo>
                  <a:lnTo>
                    <a:pt x="819" y="1216"/>
                  </a:lnTo>
                  <a:lnTo>
                    <a:pt x="821" y="1216"/>
                  </a:lnTo>
                  <a:lnTo>
                    <a:pt x="824" y="1215"/>
                  </a:lnTo>
                  <a:lnTo>
                    <a:pt x="826" y="1213"/>
                  </a:lnTo>
                  <a:lnTo>
                    <a:pt x="827" y="1211"/>
                  </a:lnTo>
                  <a:lnTo>
                    <a:pt x="828" y="1209"/>
                  </a:lnTo>
                  <a:lnTo>
                    <a:pt x="830" y="1207"/>
                  </a:lnTo>
                  <a:lnTo>
                    <a:pt x="834" y="1205"/>
                  </a:lnTo>
                  <a:lnTo>
                    <a:pt x="838" y="1203"/>
                  </a:lnTo>
                  <a:lnTo>
                    <a:pt x="846" y="1201"/>
                  </a:lnTo>
                  <a:lnTo>
                    <a:pt x="855" y="1198"/>
                  </a:lnTo>
                  <a:lnTo>
                    <a:pt x="859" y="1196"/>
                  </a:lnTo>
                  <a:lnTo>
                    <a:pt x="863" y="1194"/>
                  </a:lnTo>
                  <a:lnTo>
                    <a:pt x="863" y="1192"/>
                  </a:lnTo>
                  <a:lnTo>
                    <a:pt x="864" y="1192"/>
                  </a:lnTo>
                  <a:lnTo>
                    <a:pt x="866" y="1186"/>
                  </a:lnTo>
                  <a:lnTo>
                    <a:pt x="870" y="1186"/>
                  </a:lnTo>
                  <a:lnTo>
                    <a:pt x="870" y="1185"/>
                  </a:lnTo>
                  <a:lnTo>
                    <a:pt x="870" y="1184"/>
                  </a:lnTo>
                  <a:lnTo>
                    <a:pt x="869" y="1182"/>
                  </a:lnTo>
                  <a:lnTo>
                    <a:pt x="869" y="1181"/>
                  </a:lnTo>
                  <a:lnTo>
                    <a:pt x="869" y="1179"/>
                  </a:lnTo>
                  <a:lnTo>
                    <a:pt x="869" y="1178"/>
                  </a:lnTo>
                  <a:lnTo>
                    <a:pt x="870" y="1176"/>
                  </a:lnTo>
                  <a:lnTo>
                    <a:pt x="872" y="1175"/>
                  </a:lnTo>
                  <a:lnTo>
                    <a:pt x="873" y="1174"/>
                  </a:lnTo>
                  <a:lnTo>
                    <a:pt x="877" y="1173"/>
                  </a:lnTo>
                  <a:lnTo>
                    <a:pt x="885" y="1172"/>
                  </a:lnTo>
                  <a:lnTo>
                    <a:pt x="889" y="1171"/>
                  </a:lnTo>
                  <a:lnTo>
                    <a:pt x="892" y="1168"/>
                  </a:lnTo>
                  <a:lnTo>
                    <a:pt x="894" y="1166"/>
                  </a:lnTo>
                  <a:lnTo>
                    <a:pt x="895" y="1165"/>
                  </a:lnTo>
                  <a:lnTo>
                    <a:pt x="897" y="1165"/>
                  </a:lnTo>
                  <a:lnTo>
                    <a:pt x="898" y="1166"/>
                  </a:lnTo>
                  <a:lnTo>
                    <a:pt x="899" y="1166"/>
                  </a:lnTo>
                  <a:lnTo>
                    <a:pt x="900" y="1166"/>
                  </a:lnTo>
                  <a:lnTo>
                    <a:pt x="903" y="1165"/>
                  </a:lnTo>
                  <a:lnTo>
                    <a:pt x="904" y="1164"/>
                  </a:lnTo>
                  <a:lnTo>
                    <a:pt x="905" y="1162"/>
                  </a:lnTo>
                  <a:lnTo>
                    <a:pt x="905" y="1159"/>
                  </a:lnTo>
                  <a:lnTo>
                    <a:pt x="907" y="1156"/>
                  </a:lnTo>
                  <a:lnTo>
                    <a:pt x="907" y="1154"/>
                  </a:lnTo>
                  <a:lnTo>
                    <a:pt x="909" y="1153"/>
                  </a:lnTo>
                  <a:lnTo>
                    <a:pt x="911" y="1153"/>
                  </a:lnTo>
                  <a:lnTo>
                    <a:pt x="914" y="1153"/>
                  </a:lnTo>
                  <a:lnTo>
                    <a:pt x="920" y="1153"/>
                  </a:lnTo>
                  <a:lnTo>
                    <a:pt x="924" y="1146"/>
                  </a:lnTo>
                  <a:lnTo>
                    <a:pt x="925" y="1144"/>
                  </a:lnTo>
                  <a:lnTo>
                    <a:pt x="927" y="1143"/>
                  </a:lnTo>
                  <a:lnTo>
                    <a:pt x="928" y="1142"/>
                  </a:lnTo>
                  <a:lnTo>
                    <a:pt x="931" y="1141"/>
                  </a:lnTo>
                  <a:lnTo>
                    <a:pt x="939" y="1138"/>
                  </a:lnTo>
                  <a:lnTo>
                    <a:pt x="938" y="1137"/>
                  </a:lnTo>
                  <a:lnTo>
                    <a:pt x="938" y="1134"/>
                  </a:lnTo>
                  <a:lnTo>
                    <a:pt x="939" y="1128"/>
                  </a:lnTo>
                  <a:lnTo>
                    <a:pt x="940" y="1121"/>
                  </a:lnTo>
                  <a:lnTo>
                    <a:pt x="941" y="1117"/>
                  </a:lnTo>
                  <a:lnTo>
                    <a:pt x="947" y="1117"/>
                  </a:lnTo>
                  <a:lnTo>
                    <a:pt x="948" y="1113"/>
                  </a:lnTo>
                  <a:lnTo>
                    <a:pt x="949" y="1109"/>
                  </a:lnTo>
                  <a:lnTo>
                    <a:pt x="950" y="1105"/>
                  </a:lnTo>
                  <a:lnTo>
                    <a:pt x="951" y="1102"/>
                  </a:lnTo>
                  <a:lnTo>
                    <a:pt x="954" y="1097"/>
                  </a:lnTo>
                  <a:lnTo>
                    <a:pt x="958" y="1092"/>
                  </a:lnTo>
                  <a:lnTo>
                    <a:pt x="960" y="1089"/>
                  </a:lnTo>
                  <a:lnTo>
                    <a:pt x="962" y="1086"/>
                  </a:lnTo>
                  <a:lnTo>
                    <a:pt x="962" y="1084"/>
                  </a:lnTo>
                  <a:lnTo>
                    <a:pt x="963" y="1082"/>
                  </a:lnTo>
                  <a:lnTo>
                    <a:pt x="962" y="1079"/>
                  </a:lnTo>
                  <a:lnTo>
                    <a:pt x="962" y="1078"/>
                  </a:lnTo>
                  <a:lnTo>
                    <a:pt x="961" y="1078"/>
                  </a:lnTo>
                  <a:lnTo>
                    <a:pt x="960" y="1077"/>
                  </a:lnTo>
                  <a:lnTo>
                    <a:pt x="958" y="1077"/>
                  </a:lnTo>
                  <a:lnTo>
                    <a:pt x="957" y="1077"/>
                  </a:lnTo>
                  <a:lnTo>
                    <a:pt x="955" y="1074"/>
                  </a:lnTo>
                  <a:lnTo>
                    <a:pt x="954" y="1069"/>
                  </a:lnTo>
                  <a:lnTo>
                    <a:pt x="952" y="1064"/>
                  </a:lnTo>
                  <a:lnTo>
                    <a:pt x="952" y="1062"/>
                  </a:lnTo>
                  <a:lnTo>
                    <a:pt x="951" y="1061"/>
                  </a:lnTo>
                  <a:lnTo>
                    <a:pt x="949" y="1060"/>
                  </a:lnTo>
                  <a:lnTo>
                    <a:pt x="947" y="1059"/>
                  </a:lnTo>
                  <a:lnTo>
                    <a:pt x="944" y="1058"/>
                  </a:lnTo>
                  <a:lnTo>
                    <a:pt x="939" y="1057"/>
                  </a:lnTo>
                  <a:lnTo>
                    <a:pt x="935" y="1056"/>
                  </a:lnTo>
                  <a:lnTo>
                    <a:pt x="931" y="1052"/>
                  </a:lnTo>
                  <a:lnTo>
                    <a:pt x="928" y="1048"/>
                  </a:lnTo>
                  <a:lnTo>
                    <a:pt x="924" y="1043"/>
                  </a:lnTo>
                  <a:lnTo>
                    <a:pt x="922" y="1038"/>
                  </a:lnTo>
                  <a:lnTo>
                    <a:pt x="919" y="1030"/>
                  </a:lnTo>
                  <a:lnTo>
                    <a:pt x="918" y="1023"/>
                  </a:lnTo>
                  <a:lnTo>
                    <a:pt x="917" y="1024"/>
                  </a:lnTo>
                  <a:lnTo>
                    <a:pt x="916" y="1025"/>
                  </a:lnTo>
                  <a:lnTo>
                    <a:pt x="914" y="1028"/>
                  </a:lnTo>
                  <a:lnTo>
                    <a:pt x="910" y="1033"/>
                  </a:lnTo>
                  <a:lnTo>
                    <a:pt x="906" y="1039"/>
                  </a:lnTo>
                  <a:lnTo>
                    <a:pt x="903" y="1041"/>
                  </a:lnTo>
                  <a:lnTo>
                    <a:pt x="900" y="1044"/>
                  </a:lnTo>
                  <a:lnTo>
                    <a:pt x="896" y="1046"/>
                  </a:lnTo>
                  <a:lnTo>
                    <a:pt x="891" y="1048"/>
                  </a:lnTo>
                  <a:lnTo>
                    <a:pt x="889" y="1052"/>
                  </a:lnTo>
                  <a:lnTo>
                    <a:pt x="888" y="1052"/>
                  </a:lnTo>
                  <a:lnTo>
                    <a:pt x="886" y="1051"/>
                  </a:lnTo>
                  <a:lnTo>
                    <a:pt x="883" y="1050"/>
                  </a:lnTo>
                  <a:lnTo>
                    <a:pt x="881" y="1049"/>
                  </a:lnTo>
                  <a:lnTo>
                    <a:pt x="880" y="1048"/>
                  </a:lnTo>
                  <a:lnTo>
                    <a:pt x="873" y="1048"/>
                  </a:lnTo>
                  <a:lnTo>
                    <a:pt x="870" y="1049"/>
                  </a:lnTo>
                  <a:lnTo>
                    <a:pt x="869" y="1050"/>
                  </a:lnTo>
                  <a:lnTo>
                    <a:pt x="867" y="1050"/>
                  </a:lnTo>
                  <a:lnTo>
                    <a:pt x="859" y="1048"/>
                  </a:lnTo>
                  <a:lnTo>
                    <a:pt x="859" y="1041"/>
                  </a:lnTo>
                  <a:lnTo>
                    <a:pt x="860" y="1034"/>
                  </a:lnTo>
                  <a:lnTo>
                    <a:pt x="860" y="1027"/>
                  </a:lnTo>
                  <a:lnTo>
                    <a:pt x="859" y="1025"/>
                  </a:lnTo>
                  <a:lnTo>
                    <a:pt x="859" y="1023"/>
                  </a:lnTo>
                  <a:lnTo>
                    <a:pt x="858" y="1023"/>
                  </a:lnTo>
                  <a:lnTo>
                    <a:pt x="857" y="1023"/>
                  </a:lnTo>
                  <a:lnTo>
                    <a:pt x="856" y="1024"/>
                  </a:lnTo>
                  <a:lnTo>
                    <a:pt x="855" y="1025"/>
                  </a:lnTo>
                  <a:lnTo>
                    <a:pt x="853" y="1029"/>
                  </a:lnTo>
                  <a:lnTo>
                    <a:pt x="851" y="1036"/>
                  </a:lnTo>
                  <a:lnTo>
                    <a:pt x="847" y="1036"/>
                  </a:lnTo>
                  <a:lnTo>
                    <a:pt x="843" y="1025"/>
                  </a:lnTo>
                  <a:lnTo>
                    <a:pt x="844" y="1022"/>
                  </a:lnTo>
                  <a:lnTo>
                    <a:pt x="845" y="1020"/>
                  </a:lnTo>
                  <a:lnTo>
                    <a:pt x="846" y="1018"/>
                  </a:lnTo>
                  <a:lnTo>
                    <a:pt x="846" y="1017"/>
                  </a:lnTo>
                  <a:lnTo>
                    <a:pt x="845" y="1015"/>
                  </a:lnTo>
                  <a:lnTo>
                    <a:pt x="845" y="1014"/>
                  </a:lnTo>
                  <a:lnTo>
                    <a:pt x="844" y="1013"/>
                  </a:lnTo>
                  <a:lnTo>
                    <a:pt x="841" y="1011"/>
                  </a:lnTo>
                  <a:lnTo>
                    <a:pt x="838" y="1009"/>
                  </a:lnTo>
                  <a:lnTo>
                    <a:pt x="837" y="1008"/>
                  </a:lnTo>
                  <a:lnTo>
                    <a:pt x="836" y="1008"/>
                  </a:lnTo>
                  <a:lnTo>
                    <a:pt x="834" y="1005"/>
                  </a:lnTo>
                  <a:lnTo>
                    <a:pt x="834" y="1002"/>
                  </a:lnTo>
                  <a:lnTo>
                    <a:pt x="833" y="999"/>
                  </a:lnTo>
                  <a:lnTo>
                    <a:pt x="832" y="996"/>
                  </a:lnTo>
                  <a:lnTo>
                    <a:pt x="830" y="994"/>
                  </a:lnTo>
                  <a:lnTo>
                    <a:pt x="828" y="993"/>
                  </a:lnTo>
                  <a:lnTo>
                    <a:pt x="826" y="992"/>
                  </a:lnTo>
                  <a:lnTo>
                    <a:pt x="824" y="990"/>
                  </a:lnTo>
                  <a:lnTo>
                    <a:pt x="823" y="987"/>
                  </a:lnTo>
                  <a:lnTo>
                    <a:pt x="823" y="984"/>
                  </a:lnTo>
                  <a:lnTo>
                    <a:pt x="823" y="980"/>
                  </a:lnTo>
                  <a:lnTo>
                    <a:pt x="822" y="977"/>
                  </a:lnTo>
                  <a:lnTo>
                    <a:pt x="821" y="974"/>
                  </a:lnTo>
                  <a:lnTo>
                    <a:pt x="819" y="972"/>
                  </a:lnTo>
                  <a:lnTo>
                    <a:pt x="816" y="969"/>
                  </a:lnTo>
                  <a:lnTo>
                    <a:pt x="815" y="967"/>
                  </a:lnTo>
                  <a:lnTo>
                    <a:pt x="816" y="965"/>
                  </a:lnTo>
                  <a:lnTo>
                    <a:pt x="816" y="963"/>
                  </a:lnTo>
                  <a:lnTo>
                    <a:pt x="816" y="958"/>
                  </a:lnTo>
                  <a:lnTo>
                    <a:pt x="822" y="958"/>
                  </a:lnTo>
                  <a:lnTo>
                    <a:pt x="823" y="958"/>
                  </a:lnTo>
                  <a:lnTo>
                    <a:pt x="823" y="957"/>
                  </a:lnTo>
                  <a:lnTo>
                    <a:pt x="821" y="954"/>
                  </a:lnTo>
                  <a:lnTo>
                    <a:pt x="818" y="950"/>
                  </a:lnTo>
                  <a:lnTo>
                    <a:pt x="823" y="953"/>
                  </a:lnTo>
                  <a:lnTo>
                    <a:pt x="828" y="956"/>
                  </a:lnTo>
                  <a:lnTo>
                    <a:pt x="828" y="954"/>
                  </a:lnTo>
                  <a:lnTo>
                    <a:pt x="828" y="953"/>
                  </a:lnTo>
                  <a:lnTo>
                    <a:pt x="828" y="952"/>
                  </a:lnTo>
                  <a:lnTo>
                    <a:pt x="830" y="952"/>
                  </a:lnTo>
                  <a:lnTo>
                    <a:pt x="832" y="953"/>
                  </a:lnTo>
                  <a:lnTo>
                    <a:pt x="834" y="955"/>
                  </a:lnTo>
                  <a:lnTo>
                    <a:pt x="837" y="957"/>
                  </a:lnTo>
                  <a:lnTo>
                    <a:pt x="839" y="958"/>
                  </a:lnTo>
                  <a:lnTo>
                    <a:pt x="842" y="956"/>
                  </a:lnTo>
                  <a:lnTo>
                    <a:pt x="844" y="954"/>
                  </a:lnTo>
                  <a:lnTo>
                    <a:pt x="845" y="954"/>
                  </a:lnTo>
                  <a:lnTo>
                    <a:pt x="850" y="966"/>
                  </a:lnTo>
                  <a:lnTo>
                    <a:pt x="855" y="979"/>
                  </a:lnTo>
                  <a:lnTo>
                    <a:pt x="859" y="981"/>
                  </a:lnTo>
                  <a:lnTo>
                    <a:pt x="859" y="982"/>
                  </a:lnTo>
                  <a:lnTo>
                    <a:pt x="859" y="984"/>
                  </a:lnTo>
                  <a:lnTo>
                    <a:pt x="858" y="985"/>
                  </a:lnTo>
                  <a:lnTo>
                    <a:pt x="859" y="986"/>
                  </a:lnTo>
                  <a:lnTo>
                    <a:pt x="860" y="987"/>
                  </a:lnTo>
                  <a:lnTo>
                    <a:pt x="862" y="987"/>
                  </a:lnTo>
                  <a:lnTo>
                    <a:pt x="863" y="987"/>
                  </a:lnTo>
                  <a:lnTo>
                    <a:pt x="864" y="988"/>
                  </a:lnTo>
                  <a:lnTo>
                    <a:pt x="865" y="990"/>
                  </a:lnTo>
                  <a:lnTo>
                    <a:pt x="864" y="992"/>
                  </a:lnTo>
                  <a:lnTo>
                    <a:pt x="864" y="994"/>
                  </a:lnTo>
                  <a:lnTo>
                    <a:pt x="864" y="996"/>
                  </a:lnTo>
                  <a:lnTo>
                    <a:pt x="866" y="997"/>
                  </a:lnTo>
                  <a:lnTo>
                    <a:pt x="868" y="998"/>
                  </a:lnTo>
                  <a:lnTo>
                    <a:pt x="872" y="1000"/>
                  </a:lnTo>
                  <a:lnTo>
                    <a:pt x="872" y="1001"/>
                  </a:lnTo>
                  <a:lnTo>
                    <a:pt x="872" y="1003"/>
                  </a:lnTo>
                  <a:lnTo>
                    <a:pt x="872" y="1004"/>
                  </a:lnTo>
                  <a:lnTo>
                    <a:pt x="872" y="1006"/>
                  </a:lnTo>
                  <a:lnTo>
                    <a:pt x="882" y="1013"/>
                  </a:lnTo>
                  <a:lnTo>
                    <a:pt x="888" y="1015"/>
                  </a:lnTo>
                  <a:lnTo>
                    <a:pt x="895" y="1016"/>
                  </a:lnTo>
                  <a:lnTo>
                    <a:pt x="903" y="1017"/>
                  </a:lnTo>
                  <a:lnTo>
                    <a:pt x="912" y="1012"/>
                  </a:lnTo>
                  <a:lnTo>
                    <a:pt x="922" y="1008"/>
                  </a:lnTo>
                  <a:lnTo>
                    <a:pt x="921" y="1007"/>
                  </a:lnTo>
                  <a:lnTo>
                    <a:pt x="921" y="1006"/>
                  </a:lnTo>
                  <a:lnTo>
                    <a:pt x="922" y="1006"/>
                  </a:lnTo>
                  <a:lnTo>
                    <a:pt x="924" y="1006"/>
                  </a:lnTo>
                  <a:lnTo>
                    <a:pt x="925" y="1006"/>
                  </a:lnTo>
                  <a:lnTo>
                    <a:pt x="926" y="1007"/>
                  </a:lnTo>
                  <a:lnTo>
                    <a:pt x="928" y="1008"/>
                  </a:lnTo>
                  <a:lnTo>
                    <a:pt x="930" y="1010"/>
                  </a:lnTo>
                  <a:lnTo>
                    <a:pt x="931" y="1010"/>
                  </a:lnTo>
                  <a:lnTo>
                    <a:pt x="932" y="1011"/>
                  </a:lnTo>
                  <a:lnTo>
                    <a:pt x="932" y="1013"/>
                  </a:lnTo>
                  <a:lnTo>
                    <a:pt x="933" y="1016"/>
                  </a:lnTo>
                  <a:lnTo>
                    <a:pt x="933" y="1021"/>
                  </a:lnTo>
                  <a:lnTo>
                    <a:pt x="934" y="1025"/>
                  </a:lnTo>
                  <a:lnTo>
                    <a:pt x="934" y="1027"/>
                  </a:lnTo>
                  <a:lnTo>
                    <a:pt x="935" y="1029"/>
                  </a:lnTo>
                  <a:lnTo>
                    <a:pt x="938" y="1030"/>
                  </a:lnTo>
                  <a:lnTo>
                    <a:pt x="940" y="1032"/>
                  </a:lnTo>
                  <a:lnTo>
                    <a:pt x="945" y="1033"/>
                  </a:lnTo>
                  <a:lnTo>
                    <a:pt x="950" y="1034"/>
                  </a:lnTo>
                  <a:lnTo>
                    <a:pt x="955" y="1034"/>
                  </a:lnTo>
                  <a:lnTo>
                    <a:pt x="965" y="1034"/>
                  </a:lnTo>
                  <a:lnTo>
                    <a:pt x="970" y="1034"/>
                  </a:lnTo>
                  <a:lnTo>
                    <a:pt x="974" y="1034"/>
                  </a:lnTo>
                  <a:lnTo>
                    <a:pt x="975" y="1035"/>
                  </a:lnTo>
                  <a:lnTo>
                    <a:pt x="977" y="1037"/>
                  </a:lnTo>
                  <a:lnTo>
                    <a:pt x="979" y="1039"/>
                  </a:lnTo>
                  <a:lnTo>
                    <a:pt x="980" y="1040"/>
                  </a:lnTo>
                  <a:lnTo>
                    <a:pt x="981" y="1040"/>
                  </a:lnTo>
                  <a:lnTo>
                    <a:pt x="983" y="1040"/>
                  </a:lnTo>
                  <a:lnTo>
                    <a:pt x="987" y="1040"/>
                  </a:lnTo>
                  <a:lnTo>
                    <a:pt x="994" y="1039"/>
                  </a:lnTo>
                  <a:lnTo>
                    <a:pt x="1012" y="1035"/>
                  </a:lnTo>
                  <a:lnTo>
                    <a:pt x="1021" y="1034"/>
                  </a:lnTo>
                  <a:lnTo>
                    <a:pt x="1030" y="1033"/>
                  </a:lnTo>
                  <a:lnTo>
                    <a:pt x="1037" y="1033"/>
                  </a:lnTo>
                  <a:lnTo>
                    <a:pt x="1040" y="1033"/>
                  </a:lnTo>
                  <a:lnTo>
                    <a:pt x="1043" y="1034"/>
                  </a:lnTo>
                  <a:lnTo>
                    <a:pt x="1049" y="1042"/>
                  </a:lnTo>
                  <a:lnTo>
                    <a:pt x="1049" y="1043"/>
                  </a:lnTo>
                  <a:lnTo>
                    <a:pt x="1047" y="1044"/>
                  </a:lnTo>
                  <a:lnTo>
                    <a:pt x="1046" y="1046"/>
                  </a:lnTo>
                  <a:lnTo>
                    <a:pt x="1046" y="1047"/>
                  </a:lnTo>
                  <a:lnTo>
                    <a:pt x="1047" y="1048"/>
                  </a:lnTo>
                  <a:lnTo>
                    <a:pt x="1048" y="1048"/>
                  </a:lnTo>
                  <a:lnTo>
                    <a:pt x="1050" y="1048"/>
                  </a:lnTo>
                  <a:lnTo>
                    <a:pt x="1053" y="1048"/>
                  </a:lnTo>
                  <a:lnTo>
                    <a:pt x="1054" y="1048"/>
                  </a:lnTo>
                  <a:lnTo>
                    <a:pt x="1058" y="1050"/>
                  </a:lnTo>
                  <a:lnTo>
                    <a:pt x="1059" y="1050"/>
                  </a:lnTo>
                  <a:lnTo>
                    <a:pt x="1059" y="1051"/>
                  </a:lnTo>
                  <a:lnTo>
                    <a:pt x="1059" y="1054"/>
                  </a:lnTo>
                  <a:lnTo>
                    <a:pt x="1059" y="1057"/>
                  </a:lnTo>
                  <a:lnTo>
                    <a:pt x="1060" y="1058"/>
                  </a:lnTo>
                  <a:lnTo>
                    <a:pt x="1060" y="1059"/>
                  </a:lnTo>
                  <a:lnTo>
                    <a:pt x="1072" y="1063"/>
                  </a:lnTo>
                  <a:lnTo>
                    <a:pt x="1073" y="1066"/>
                  </a:lnTo>
                  <a:lnTo>
                    <a:pt x="1073" y="1069"/>
                  </a:lnTo>
                  <a:lnTo>
                    <a:pt x="1073" y="1072"/>
                  </a:lnTo>
                  <a:lnTo>
                    <a:pt x="1074" y="1075"/>
                  </a:lnTo>
                  <a:lnTo>
                    <a:pt x="1083" y="1077"/>
                  </a:lnTo>
                  <a:lnTo>
                    <a:pt x="1086" y="1078"/>
                  </a:lnTo>
                  <a:lnTo>
                    <a:pt x="1089" y="1078"/>
                  </a:lnTo>
                  <a:lnTo>
                    <a:pt x="1092" y="1077"/>
                  </a:lnTo>
                  <a:lnTo>
                    <a:pt x="1095" y="1076"/>
                  </a:lnTo>
                  <a:lnTo>
                    <a:pt x="1098" y="1074"/>
                  </a:lnTo>
                  <a:lnTo>
                    <a:pt x="1102" y="1071"/>
                  </a:lnTo>
                  <a:lnTo>
                    <a:pt x="1100" y="1075"/>
                  </a:lnTo>
                  <a:lnTo>
                    <a:pt x="1098" y="1079"/>
                  </a:lnTo>
                  <a:lnTo>
                    <a:pt x="1096" y="1083"/>
                  </a:lnTo>
                  <a:lnTo>
                    <a:pt x="1094" y="1085"/>
                  </a:lnTo>
                  <a:lnTo>
                    <a:pt x="1093" y="1086"/>
                  </a:lnTo>
                  <a:lnTo>
                    <a:pt x="1090" y="1087"/>
                  </a:lnTo>
                  <a:lnTo>
                    <a:pt x="1087" y="1087"/>
                  </a:lnTo>
                  <a:lnTo>
                    <a:pt x="1085" y="1087"/>
                  </a:lnTo>
                  <a:lnTo>
                    <a:pt x="1083" y="1088"/>
                  </a:lnTo>
                  <a:lnTo>
                    <a:pt x="1081" y="1088"/>
                  </a:lnTo>
                  <a:lnTo>
                    <a:pt x="1081" y="1089"/>
                  </a:lnTo>
                  <a:lnTo>
                    <a:pt x="1080" y="1092"/>
                  </a:lnTo>
                  <a:lnTo>
                    <a:pt x="1080" y="1094"/>
                  </a:lnTo>
                  <a:lnTo>
                    <a:pt x="1081" y="1094"/>
                  </a:lnTo>
                  <a:lnTo>
                    <a:pt x="1085" y="1100"/>
                  </a:lnTo>
                  <a:lnTo>
                    <a:pt x="1087" y="1103"/>
                  </a:lnTo>
                  <a:lnTo>
                    <a:pt x="1089" y="1105"/>
                  </a:lnTo>
                  <a:lnTo>
                    <a:pt x="1094" y="1110"/>
                  </a:lnTo>
                  <a:lnTo>
                    <a:pt x="1099" y="1115"/>
                  </a:lnTo>
                  <a:lnTo>
                    <a:pt x="1110" y="1111"/>
                  </a:lnTo>
                  <a:lnTo>
                    <a:pt x="1115" y="1108"/>
                  </a:lnTo>
                  <a:lnTo>
                    <a:pt x="1117" y="1106"/>
                  </a:lnTo>
                  <a:lnTo>
                    <a:pt x="1118" y="1104"/>
                  </a:lnTo>
                  <a:lnTo>
                    <a:pt x="1118" y="1100"/>
                  </a:lnTo>
                  <a:lnTo>
                    <a:pt x="1118" y="1097"/>
                  </a:lnTo>
                  <a:lnTo>
                    <a:pt x="1117" y="1093"/>
                  </a:lnTo>
                  <a:lnTo>
                    <a:pt x="1118" y="1092"/>
                  </a:lnTo>
                  <a:lnTo>
                    <a:pt x="1118" y="1090"/>
                  </a:lnTo>
                  <a:lnTo>
                    <a:pt x="1124" y="1086"/>
                  </a:lnTo>
                  <a:lnTo>
                    <a:pt x="1123" y="1089"/>
                  </a:lnTo>
                  <a:lnTo>
                    <a:pt x="1123" y="1092"/>
                  </a:lnTo>
                  <a:lnTo>
                    <a:pt x="1122" y="1096"/>
                  </a:lnTo>
                  <a:lnTo>
                    <a:pt x="1126" y="1098"/>
                  </a:lnTo>
                  <a:lnTo>
                    <a:pt x="1124" y="1101"/>
                  </a:lnTo>
                  <a:lnTo>
                    <a:pt x="1124" y="1103"/>
                  </a:lnTo>
                  <a:lnTo>
                    <a:pt x="1124" y="1105"/>
                  </a:lnTo>
                  <a:lnTo>
                    <a:pt x="1124" y="1107"/>
                  </a:lnTo>
                  <a:lnTo>
                    <a:pt x="1126" y="1108"/>
                  </a:lnTo>
                  <a:lnTo>
                    <a:pt x="1127" y="1110"/>
                  </a:lnTo>
                  <a:lnTo>
                    <a:pt x="1127" y="1111"/>
                  </a:lnTo>
                  <a:lnTo>
                    <a:pt x="1127" y="1113"/>
                  </a:lnTo>
                  <a:lnTo>
                    <a:pt x="1127" y="1115"/>
                  </a:lnTo>
                  <a:lnTo>
                    <a:pt x="1126" y="1117"/>
                  </a:lnTo>
                  <a:lnTo>
                    <a:pt x="1124" y="1121"/>
                  </a:lnTo>
                  <a:lnTo>
                    <a:pt x="1122" y="1125"/>
                  </a:lnTo>
                  <a:lnTo>
                    <a:pt x="1122" y="1128"/>
                  </a:lnTo>
                  <a:lnTo>
                    <a:pt x="1122" y="1130"/>
                  </a:lnTo>
                  <a:lnTo>
                    <a:pt x="1124" y="1136"/>
                  </a:lnTo>
                  <a:lnTo>
                    <a:pt x="1127" y="1142"/>
                  </a:lnTo>
                  <a:lnTo>
                    <a:pt x="1126" y="1143"/>
                  </a:lnTo>
                  <a:lnTo>
                    <a:pt x="1126" y="1144"/>
                  </a:lnTo>
                  <a:lnTo>
                    <a:pt x="1126" y="1147"/>
                  </a:lnTo>
                  <a:lnTo>
                    <a:pt x="1127" y="1150"/>
                  </a:lnTo>
                  <a:lnTo>
                    <a:pt x="1127" y="1153"/>
                  </a:lnTo>
                  <a:lnTo>
                    <a:pt x="1133" y="1178"/>
                  </a:lnTo>
                  <a:lnTo>
                    <a:pt x="1133" y="1184"/>
                  </a:lnTo>
                  <a:lnTo>
                    <a:pt x="1133" y="1190"/>
                  </a:lnTo>
                  <a:lnTo>
                    <a:pt x="1135" y="1196"/>
                  </a:lnTo>
                  <a:lnTo>
                    <a:pt x="1139" y="1202"/>
                  </a:lnTo>
                  <a:lnTo>
                    <a:pt x="1142" y="1209"/>
                  </a:lnTo>
                  <a:lnTo>
                    <a:pt x="1145" y="1215"/>
                  </a:lnTo>
                  <a:lnTo>
                    <a:pt x="1146" y="1223"/>
                  </a:lnTo>
                  <a:lnTo>
                    <a:pt x="1147" y="1232"/>
                  </a:lnTo>
                  <a:lnTo>
                    <a:pt x="1148" y="1240"/>
                  </a:lnTo>
                  <a:lnTo>
                    <a:pt x="1149" y="1244"/>
                  </a:lnTo>
                  <a:lnTo>
                    <a:pt x="1150" y="1248"/>
                  </a:lnTo>
                  <a:lnTo>
                    <a:pt x="1153" y="1252"/>
                  </a:lnTo>
                  <a:lnTo>
                    <a:pt x="1156" y="1256"/>
                  </a:lnTo>
                  <a:lnTo>
                    <a:pt x="1159" y="1260"/>
                  </a:lnTo>
                  <a:lnTo>
                    <a:pt x="1161" y="1263"/>
                  </a:lnTo>
                  <a:lnTo>
                    <a:pt x="1162" y="1265"/>
                  </a:lnTo>
                  <a:lnTo>
                    <a:pt x="1163" y="1269"/>
                  </a:lnTo>
                  <a:lnTo>
                    <a:pt x="1164" y="1272"/>
                  </a:lnTo>
                  <a:lnTo>
                    <a:pt x="1164" y="1275"/>
                  </a:lnTo>
                  <a:lnTo>
                    <a:pt x="1166" y="1278"/>
                  </a:lnTo>
                  <a:lnTo>
                    <a:pt x="1170" y="1280"/>
                  </a:lnTo>
                  <a:lnTo>
                    <a:pt x="1170" y="1282"/>
                  </a:lnTo>
                  <a:lnTo>
                    <a:pt x="1170" y="1283"/>
                  </a:lnTo>
                  <a:lnTo>
                    <a:pt x="1169" y="1285"/>
                  </a:lnTo>
                  <a:lnTo>
                    <a:pt x="1168" y="1287"/>
                  </a:lnTo>
                  <a:lnTo>
                    <a:pt x="1168" y="1288"/>
                  </a:lnTo>
                  <a:lnTo>
                    <a:pt x="1168" y="1290"/>
                  </a:lnTo>
                  <a:lnTo>
                    <a:pt x="1169" y="1292"/>
                  </a:lnTo>
                  <a:lnTo>
                    <a:pt x="1171" y="1294"/>
                  </a:lnTo>
                  <a:lnTo>
                    <a:pt x="1175" y="1299"/>
                  </a:lnTo>
                  <a:lnTo>
                    <a:pt x="1179" y="1305"/>
                  </a:lnTo>
                  <a:lnTo>
                    <a:pt x="1180" y="1307"/>
                  </a:lnTo>
                  <a:lnTo>
                    <a:pt x="1180" y="1308"/>
                  </a:lnTo>
                  <a:lnTo>
                    <a:pt x="1181" y="1310"/>
                  </a:lnTo>
                  <a:lnTo>
                    <a:pt x="1181" y="1311"/>
                  </a:lnTo>
                  <a:lnTo>
                    <a:pt x="1184" y="1311"/>
                  </a:lnTo>
                  <a:lnTo>
                    <a:pt x="1187" y="1311"/>
                  </a:lnTo>
                  <a:lnTo>
                    <a:pt x="1190" y="1305"/>
                  </a:lnTo>
                  <a:lnTo>
                    <a:pt x="1191" y="1301"/>
                  </a:lnTo>
                  <a:lnTo>
                    <a:pt x="1193" y="1299"/>
                  </a:lnTo>
                  <a:lnTo>
                    <a:pt x="1194" y="1299"/>
                  </a:lnTo>
                  <a:lnTo>
                    <a:pt x="1196" y="1299"/>
                  </a:lnTo>
                  <a:lnTo>
                    <a:pt x="1197" y="1298"/>
                  </a:lnTo>
                  <a:lnTo>
                    <a:pt x="1198" y="1297"/>
                  </a:lnTo>
                  <a:lnTo>
                    <a:pt x="1200" y="1293"/>
                  </a:lnTo>
                  <a:lnTo>
                    <a:pt x="1201" y="1289"/>
                  </a:lnTo>
                  <a:lnTo>
                    <a:pt x="1202" y="1287"/>
                  </a:lnTo>
                  <a:lnTo>
                    <a:pt x="1203" y="1285"/>
                  </a:lnTo>
                  <a:lnTo>
                    <a:pt x="1204" y="1283"/>
                  </a:lnTo>
                  <a:lnTo>
                    <a:pt x="1206" y="1282"/>
                  </a:lnTo>
                  <a:lnTo>
                    <a:pt x="1208" y="1282"/>
                  </a:lnTo>
                  <a:lnTo>
                    <a:pt x="1209" y="1282"/>
                  </a:lnTo>
                  <a:lnTo>
                    <a:pt x="1210" y="1282"/>
                  </a:lnTo>
                  <a:lnTo>
                    <a:pt x="1211" y="1282"/>
                  </a:lnTo>
                  <a:lnTo>
                    <a:pt x="1212" y="1282"/>
                  </a:lnTo>
                  <a:lnTo>
                    <a:pt x="1210" y="1263"/>
                  </a:lnTo>
                  <a:lnTo>
                    <a:pt x="1210" y="1257"/>
                  </a:lnTo>
                  <a:lnTo>
                    <a:pt x="1212" y="1254"/>
                  </a:lnTo>
                  <a:lnTo>
                    <a:pt x="1214" y="1250"/>
                  </a:lnTo>
                  <a:lnTo>
                    <a:pt x="1216" y="1247"/>
                  </a:lnTo>
                  <a:lnTo>
                    <a:pt x="1218" y="1244"/>
                  </a:lnTo>
                  <a:lnTo>
                    <a:pt x="1214" y="1234"/>
                  </a:lnTo>
                  <a:lnTo>
                    <a:pt x="1214" y="1229"/>
                  </a:lnTo>
                  <a:lnTo>
                    <a:pt x="1214" y="1221"/>
                  </a:lnTo>
                  <a:lnTo>
                    <a:pt x="1214" y="1216"/>
                  </a:lnTo>
                  <a:lnTo>
                    <a:pt x="1215" y="1212"/>
                  </a:lnTo>
                  <a:lnTo>
                    <a:pt x="1216" y="1209"/>
                  </a:lnTo>
                  <a:lnTo>
                    <a:pt x="1217" y="1208"/>
                  </a:lnTo>
                  <a:lnTo>
                    <a:pt x="1218" y="1207"/>
                  </a:lnTo>
                  <a:lnTo>
                    <a:pt x="1216" y="1203"/>
                  </a:lnTo>
                  <a:lnTo>
                    <a:pt x="1215" y="1200"/>
                  </a:lnTo>
                  <a:lnTo>
                    <a:pt x="1214" y="1198"/>
                  </a:lnTo>
                  <a:lnTo>
                    <a:pt x="1215" y="1197"/>
                  </a:lnTo>
                  <a:lnTo>
                    <a:pt x="1215" y="1196"/>
                  </a:lnTo>
                  <a:lnTo>
                    <a:pt x="1216" y="1195"/>
                  </a:lnTo>
                  <a:lnTo>
                    <a:pt x="1216" y="1194"/>
                  </a:lnTo>
                  <a:lnTo>
                    <a:pt x="1217" y="1193"/>
                  </a:lnTo>
                  <a:lnTo>
                    <a:pt x="1217" y="1192"/>
                  </a:lnTo>
                  <a:lnTo>
                    <a:pt x="1218" y="1192"/>
                  </a:lnTo>
                  <a:lnTo>
                    <a:pt x="1219" y="1191"/>
                  </a:lnTo>
                  <a:lnTo>
                    <a:pt x="1221" y="1192"/>
                  </a:lnTo>
                  <a:lnTo>
                    <a:pt x="1224" y="1192"/>
                  </a:lnTo>
                  <a:lnTo>
                    <a:pt x="1225" y="1192"/>
                  </a:lnTo>
                  <a:lnTo>
                    <a:pt x="1226" y="1191"/>
                  </a:lnTo>
                  <a:lnTo>
                    <a:pt x="1227" y="1190"/>
                  </a:lnTo>
                  <a:lnTo>
                    <a:pt x="1229" y="1188"/>
                  </a:lnTo>
                  <a:lnTo>
                    <a:pt x="1230" y="1186"/>
                  </a:lnTo>
                  <a:lnTo>
                    <a:pt x="1231" y="1184"/>
                  </a:lnTo>
                  <a:lnTo>
                    <a:pt x="1234" y="1183"/>
                  </a:lnTo>
                  <a:lnTo>
                    <a:pt x="1236" y="1183"/>
                  </a:lnTo>
                  <a:lnTo>
                    <a:pt x="1239" y="1182"/>
                  </a:lnTo>
                  <a:lnTo>
                    <a:pt x="1240" y="1181"/>
                  </a:lnTo>
                  <a:lnTo>
                    <a:pt x="1241" y="1180"/>
                  </a:lnTo>
                  <a:lnTo>
                    <a:pt x="1241" y="1179"/>
                  </a:lnTo>
                  <a:lnTo>
                    <a:pt x="1242" y="1177"/>
                  </a:lnTo>
                  <a:lnTo>
                    <a:pt x="1242" y="1174"/>
                  </a:lnTo>
                  <a:lnTo>
                    <a:pt x="1243" y="1171"/>
                  </a:lnTo>
                  <a:lnTo>
                    <a:pt x="1243" y="1170"/>
                  </a:lnTo>
                  <a:lnTo>
                    <a:pt x="1245" y="1169"/>
                  </a:lnTo>
                  <a:lnTo>
                    <a:pt x="1246" y="1168"/>
                  </a:lnTo>
                  <a:lnTo>
                    <a:pt x="1247" y="1168"/>
                  </a:lnTo>
                  <a:lnTo>
                    <a:pt x="1250" y="1168"/>
                  </a:lnTo>
                  <a:lnTo>
                    <a:pt x="1253" y="1168"/>
                  </a:lnTo>
                  <a:lnTo>
                    <a:pt x="1256" y="1167"/>
                  </a:lnTo>
                  <a:lnTo>
                    <a:pt x="1256" y="1163"/>
                  </a:lnTo>
                  <a:lnTo>
                    <a:pt x="1257" y="1162"/>
                  </a:lnTo>
                  <a:lnTo>
                    <a:pt x="1258" y="1161"/>
                  </a:lnTo>
                  <a:lnTo>
                    <a:pt x="1260" y="1160"/>
                  </a:lnTo>
                  <a:lnTo>
                    <a:pt x="1263" y="1159"/>
                  </a:lnTo>
                  <a:lnTo>
                    <a:pt x="1265" y="1158"/>
                  </a:lnTo>
                  <a:lnTo>
                    <a:pt x="1266" y="1157"/>
                  </a:lnTo>
                  <a:lnTo>
                    <a:pt x="1267" y="1155"/>
                  </a:lnTo>
                  <a:lnTo>
                    <a:pt x="1268" y="1153"/>
                  </a:lnTo>
                  <a:lnTo>
                    <a:pt x="1270" y="1148"/>
                  </a:lnTo>
                  <a:lnTo>
                    <a:pt x="1273" y="1143"/>
                  </a:lnTo>
                  <a:lnTo>
                    <a:pt x="1275" y="1140"/>
                  </a:lnTo>
                  <a:lnTo>
                    <a:pt x="1277" y="1139"/>
                  </a:lnTo>
                  <a:lnTo>
                    <a:pt x="1278" y="1139"/>
                  </a:lnTo>
                  <a:lnTo>
                    <a:pt x="1280" y="1139"/>
                  </a:lnTo>
                  <a:lnTo>
                    <a:pt x="1281" y="1138"/>
                  </a:lnTo>
                  <a:lnTo>
                    <a:pt x="1280" y="1136"/>
                  </a:lnTo>
                  <a:lnTo>
                    <a:pt x="1279" y="1135"/>
                  </a:lnTo>
                  <a:lnTo>
                    <a:pt x="1279" y="1134"/>
                  </a:lnTo>
                  <a:lnTo>
                    <a:pt x="1281" y="1134"/>
                  </a:lnTo>
                  <a:lnTo>
                    <a:pt x="1283" y="1134"/>
                  </a:lnTo>
                  <a:lnTo>
                    <a:pt x="1285" y="1134"/>
                  </a:lnTo>
                  <a:lnTo>
                    <a:pt x="1287" y="1134"/>
                  </a:lnTo>
                  <a:lnTo>
                    <a:pt x="1291" y="1132"/>
                  </a:lnTo>
                  <a:lnTo>
                    <a:pt x="1296" y="1128"/>
                  </a:lnTo>
                  <a:lnTo>
                    <a:pt x="1301" y="1124"/>
                  </a:lnTo>
                  <a:lnTo>
                    <a:pt x="1303" y="1122"/>
                  </a:lnTo>
                  <a:lnTo>
                    <a:pt x="1304" y="1121"/>
                  </a:lnTo>
                  <a:lnTo>
                    <a:pt x="1305" y="1119"/>
                  </a:lnTo>
                  <a:lnTo>
                    <a:pt x="1304" y="1117"/>
                  </a:lnTo>
                  <a:lnTo>
                    <a:pt x="1303" y="1116"/>
                  </a:lnTo>
                  <a:lnTo>
                    <a:pt x="1302" y="1115"/>
                  </a:lnTo>
                  <a:lnTo>
                    <a:pt x="1301" y="1114"/>
                  </a:lnTo>
                  <a:lnTo>
                    <a:pt x="1302" y="1114"/>
                  </a:lnTo>
                  <a:lnTo>
                    <a:pt x="1304" y="1113"/>
                  </a:lnTo>
                  <a:lnTo>
                    <a:pt x="1306" y="1109"/>
                  </a:lnTo>
                  <a:lnTo>
                    <a:pt x="1307" y="1108"/>
                  </a:lnTo>
                  <a:lnTo>
                    <a:pt x="1307" y="1107"/>
                  </a:lnTo>
                  <a:lnTo>
                    <a:pt x="1310" y="1105"/>
                  </a:lnTo>
                  <a:lnTo>
                    <a:pt x="1314" y="1104"/>
                  </a:lnTo>
                  <a:lnTo>
                    <a:pt x="1314" y="1100"/>
                  </a:lnTo>
                  <a:lnTo>
                    <a:pt x="1315" y="1099"/>
                  </a:lnTo>
                  <a:lnTo>
                    <a:pt x="1317" y="1100"/>
                  </a:lnTo>
                  <a:lnTo>
                    <a:pt x="1321" y="1102"/>
                  </a:lnTo>
                  <a:lnTo>
                    <a:pt x="1325" y="1105"/>
                  </a:lnTo>
                  <a:lnTo>
                    <a:pt x="1342" y="1096"/>
                  </a:lnTo>
                  <a:lnTo>
                    <a:pt x="1342" y="1097"/>
                  </a:lnTo>
                  <a:lnTo>
                    <a:pt x="1343" y="1098"/>
                  </a:lnTo>
                  <a:lnTo>
                    <a:pt x="1346" y="1098"/>
                  </a:lnTo>
                  <a:lnTo>
                    <a:pt x="1350" y="1079"/>
                  </a:lnTo>
                  <a:lnTo>
                    <a:pt x="1357" y="1083"/>
                  </a:lnTo>
                  <a:lnTo>
                    <a:pt x="1361" y="1086"/>
                  </a:lnTo>
                  <a:lnTo>
                    <a:pt x="1364" y="1090"/>
                  </a:lnTo>
                  <a:lnTo>
                    <a:pt x="1365" y="1094"/>
                  </a:lnTo>
                  <a:lnTo>
                    <a:pt x="1366" y="1103"/>
                  </a:lnTo>
                  <a:lnTo>
                    <a:pt x="1367" y="1108"/>
                  </a:lnTo>
                  <a:lnTo>
                    <a:pt x="1369" y="1115"/>
                  </a:lnTo>
                  <a:lnTo>
                    <a:pt x="1370" y="1116"/>
                  </a:lnTo>
                  <a:lnTo>
                    <a:pt x="1371" y="1117"/>
                  </a:lnTo>
                  <a:lnTo>
                    <a:pt x="1374" y="1119"/>
                  </a:lnTo>
                  <a:lnTo>
                    <a:pt x="1375" y="1123"/>
                  </a:lnTo>
                  <a:lnTo>
                    <a:pt x="1375" y="1127"/>
                  </a:lnTo>
                  <a:lnTo>
                    <a:pt x="1378" y="1126"/>
                  </a:lnTo>
                  <a:lnTo>
                    <a:pt x="1380" y="1126"/>
                  </a:lnTo>
                  <a:lnTo>
                    <a:pt x="1380" y="1125"/>
                  </a:lnTo>
                  <a:lnTo>
                    <a:pt x="1379" y="1125"/>
                  </a:lnTo>
                  <a:lnTo>
                    <a:pt x="1380" y="1125"/>
                  </a:lnTo>
                  <a:lnTo>
                    <a:pt x="1382" y="1124"/>
                  </a:lnTo>
                  <a:lnTo>
                    <a:pt x="1383" y="1123"/>
                  </a:lnTo>
                  <a:lnTo>
                    <a:pt x="1387" y="1123"/>
                  </a:lnTo>
                  <a:lnTo>
                    <a:pt x="1388" y="1129"/>
                  </a:lnTo>
                  <a:lnTo>
                    <a:pt x="1388" y="1135"/>
                  </a:lnTo>
                  <a:lnTo>
                    <a:pt x="1389" y="1141"/>
                  </a:lnTo>
                  <a:lnTo>
                    <a:pt x="1390" y="1148"/>
                  </a:lnTo>
                  <a:lnTo>
                    <a:pt x="1392" y="1150"/>
                  </a:lnTo>
                  <a:lnTo>
                    <a:pt x="1394" y="1152"/>
                  </a:lnTo>
                  <a:lnTo>
                    <a:pt x="1397" y="1154"/>
                  </a:lnTo>
                  <a:lnTo>
                    <a:pt x="1398" y="1156"/>
                  </a:lnTo>
                  <a:lnTo>
                    <a:pt x="1398" y="1157"/>
                  </a:lnTo>
                  <a:lnTo>
                    <a:pt x="1398" y="1160"/>
                  </a:lnTo>
                  <a:lnTo>
                    <a:pt x="1398" y="1162"/>
                  </a:lnTo>
                  <a:lnTo>
                    <a:pt x="1396" y="1167"/>
                  </a:lnTo>
                  <a:lnTo>
                    <a:pt x="1394" y="1171"/>
                  </a:lnTo>
                  <a:lnTo>
                    <a:pt x="1392" y="1175"/>
                  </a:lnTo>
                  <a:lnTo>
                    <a:pt x="1392" y="1177"/>
                  </a:lnTo>
                  <a:lnTo>
                    <a:pt x="1392" y="1180"/>
                  </a:lnTo>
                  <a:lnTo>
                    <a:pt x="1393" y="1183"/>
                  </a:lnTo>
                  <a:lnTo>
                    <a:pt x="1392" y="1186"/>
                  </a:lnTo>
                  <a:lnTo>
                    <a:pt x="1399" y="1187"/>
                  </a:lnTo>
                  <a:lnTo>
                    <a:pt x="1403" y="1187"/>
                  </a:lnTo>
                  <a:lnTo>
                    <a:pt x="1407" y="1187"/>
                  </a:lnTo>
                  <a:lnTo>
                    <a:pt x="1411" y="1186"/>
                  </a:lnTo>
                  <a:lnTo>
                    <a:pt x="1413" y="1185"/>
                  </a:lnTo>
                  <a:lnTo>
                    <a:pt x="1414" y="1184"/>
                  </a:lnTo>
                  <a:lnTo>
                    <a:pt x="1417" y="1182"/>
                  </a:lnTo>
                  <a:lnTo>
                    <a:pt x="1418" y="1180"/>
                  </a:lnTo>
                  <a:lnTo>
                    <a:pt x="1419" y="1178"/>
                  </a:lnTo>
                  <a:lnTo>
                    <a:pt x="1419" y="1174"/>
                  </a:lnTo>
                  <a:lnTo>
                    <a:pt x="1419" y="1172"/>
                  </a:lnTo>
                  <a:lnTo>
                    <a:pt x="1419" y="1171"/>
                  </a:lnTo>
                  <a:lnTo>
                    <a:pt x="1423" y="1171"/>
                  </a:lnTo>
                  <a:lnTo>
                    <a:pt x="1427" y="1176"/>
                  </a:lnTo>
                  <a:lnTo>
                    <a:pt x="1429" y="1179"/>
                  </a:lnTo>
                  <a:lnTo>
                    <a:pt x="1431" y="1180"/>
                  </a:lnTo>
                  <a:lnTo>
                    <a:pt x="1435" y="1180"/>
                  </a:lnTo>
                  <a:lnTo>
                    <a:pt x="1435" y="1182"/>
                  </a:lnTo>
                  <a:lnTo>
                    <a:pt x="1435" y="1184"/>
                  </a:lnTo>
                  <a:lnTo>
                    <a:pt x="1434" y="1187"/>
                  </a:lnTo>
                  <a:lnTo>
                    <a:pt x="1433" y="1189"/>
                  </a:lnTo>
                  <a:lnTo>
                    <a:pt x="1433" y="1190"/>
                  </a:lnTo>
                  <a:lnTo>
                    <a:pt x="1433" y="1192"/>
                  </a:lnTo>
                  <a:lnTo>
                    <a:pt x="1434" y="1193"/>
                  </a:lnTo>
                  <a:lnTo>
                    <a:pt x="1435" y="1195"/>
                  </a:lnTo>
                  <a:lnTo>
                    <a:pt x="1438" y="1198"/>
                  </a:lnTo>
                  <a:lnTo>
                    <a:pt x="1439" y="1203"/>
                  </a:lnTo>
                  <a:lnTo>
                    <a:pt x="1439" y="1207"/>
                  </a:lnTo>
                  <a:lnTo>
                    <a:pt x="1439" y="1212"/>
                  </a:lnTo>
                  <a:lnTo>
                    <a:pt x="1440" y="1217"/>
                  </a:lnTo>
                  <a:lnTo>
                    <a:pt x="1441" y="1219"/>
                  </a:lnTo>
                  <a:lnTo>
                    <a:pt x="1442" y="1221"/>
                  </a:lnTo>
                  <a:lnTo>
                    <a:pt x="1442" y="1223"/>
                  </a:lnTo>
                  <a:lnTo>
                    <a:pt x="1446" y="1223"/>
                  </a:lnTo>
                  <a:lnTo>
                    <a:pt x="1447" y="1227"/>
                  </a:lnTo>
                  <a:lnTo>
                    <a:pt x="1447" y="1231"/>
                  </a:lnTo>
                  <a:lnTo>
                    <a:pt x="1448" y="1240"/>
                  </a:lnTo>
                  <a:lnTo>
                    <a:pt x="1450" y="1240"/>
                  </a:lnTo>
                  <a:lnTo>
                    <a:pt x="1450" y="1242"/>
                  </a:lnTo>
                  <a:lnTo>
                    <a:pt x="1449" y="1244"/>
                  </a:lnTo>
                  <a:lnTo>
                    <a:pt x="1448" y="1247"/>
                  </a:lnTo>
                  <a:lnTo>
                    <a:pt x="1447" y="1249"/>
                  </a:lnTo>
                  <a:lnTo>
                    <a:pt x="1446" y="1251"/>
                  </a:lnTo>
                  <a:lnTo>
                    <a:pt x="1452" y="1253"/>
                  </a:lnTo>
                  <a:lnTo>
                    <a:pt x="1453" y="1261"/>
                  </a:lnTo>
                  <a:lnTo>
                    <a:pt x="1454" y="1264"/>
                  </a:lnTo>
                  <a:lnTo>
                    <a:pt x="1454" y="1269"/>
                  </a:lnTo>
                  <a:lnTo>
                    <a:pt x="1452" y="1269"/>
                  </a:lnTo>
                  <a:lnTo>
                    <a:pt x="1452" y="1276"/>
                  </a:lnTo>
                  <a:lnTo>
                    <a:pt x="1452" y="1286"/>
                  </a:lnTo>
                  <a:lnTo>
                    <a:pt x="1451" y="1288"/>
                  </a:lnTo>
                  <a:lnTo>
                    <a:pt x="1448" y="1291"/>
                  </a:lnTo>
                  <a:lnTo>
                    <a:pt x="1447" y="1293"/>
                  </a:lnTo>
                  <a:lnTo>
                    <a:pt x="1447" y="1295"/>
                  </a:lnTo>
                  <a:lnTo>
                    <a:pt x="1446" y="1297"/>
                  </a:lnTo>
                  <a:lnTo>
                    <a:pt x="1446" y="1299"/>
                  </a:lnTo>
                  <a:lnTo>
                    <a:pt x="1446" y="1301"/>
                  </a:lnTo>
                  <a:lnTo>
                    <a:pt x="1447" y="1303"/>
                  </a:lnTo>
                  <a:lnTo>
                    <a:pt x="1450" y="1306"/>
                  </a:lnTo>
                  <a:lnTo>
                    <a:pt x="1457" y="1315"/>
                  </a:lnTo>
                  <a:lnTo>
                    <a:pt x="1464" y="1324"/>
                  </a:lnTo>
                  <a:lnTo>
                    <a:pt x="1467" y="1328"/>
                  </a:lnTo>
                  <a:lnTo>
                    <a:pt x="1468" y="1330"/>
                  </a:lnTo>
                  <a:lnTo>
                    <a:pt x="1469" y="1332"/>
                  </a:lnTo>
                  <a:lnTo>
                    <a:pt x="1470" y="1335"/>
                  </a:lnTo>
                  <a:lnTo>
                    <a:pt x="1470" y="1338"/>
                  </a:lnTo>
                  <a:lnTo>
                    <a:pt x="1470" y="1343"/>
                  </a:lnTo>
                  <a:lnTo>
                    <a:pt x="1470" y="1351"/>
                  </a:lnTo>
                  <a:lnTo>
                    <a:pt x="1470" y="1356"/>
                  </a:lnTo>
                  <a:lnTo>
                    <a:pt x="1471" y="1361"/>
                  </a:lnTo>
                  <a:lnTo>
                    <a:pt x="1473" y="1361"/>
                  </a:lnTo>
                  <a:lnTo>
                    <a:pt x="1474" y="1371"/>
                  </a:lnTo>
                  <a:lnTo>
                    <a:pt x="1475" y="1376"/>
                  </a:lnTo>
                  <a:lnTo>
                    <a:pt x="1477" y="1380"/>
                  </a:lnTo>
                  <a:lnTo>
                    <a:pt x="1480" y="1382"/>
                  </a:lnTo>
                  <a:lnTo>
                    <a:pt x="1482" y="1384"/>
                  </a:lnTo>
                  <a:lnTo>
                    <a:pt x="1483" y="1386"/>
                  </a:lnTo>
                  <a:lnTo>
                    <a:pt x="1483" y="1387"/>
                  </a:lnTo>
                  <a:lnTo>
                    <a:pt x="1482" y="1390"/>
                  </a:lnTo>
                  <a:lnTo>
                    <a:pt x="1482" y="1392"/>
                  </a:lnTo>
                  <a:lnTo>
                    <a:pt x="1483" y="1393"/>
                  </a:lnTo>
                  <a:lnTo>
                    <a:pt x="1484" y="1395"/>
                  </a:lnTo>
                  <a:lnTo>
                    <a:pt x="1486" y="1395"/>
                  </a:lnTo>
                  <a:lnTo>
                    <a:pt x="1489" y="1396"/>
                  </a:lnTo>
                  <a:lnTo>
                    <a:pt x="1490" y="1397"/>
                  </a:lnTo>
                  <a:lnTo>
                    <a:pt x="1496" y="1404"/>
                  </a:lnTo>
                  <a:lnTo>
                    <a:pt x="1499" y="1406"/>
                  </a:lnTo>
                  <a:lnTo>
                    <a:pt x="1500" y="1407"/>
                  </a:lnTo>
                  <a:lnTo>
                    <a:pt x="1501" y="1408"/>
                  </a:lnTo>
                  <a:lnTo>
                    <a:pt x="1504" y="1409"/>
                  </a:lnTo>
                  <a:lnTo>
                    <a:pt x="1507" y="1409"/>
                  </a:lnTo>
                  <a:lnTo>
                    <a:pt x="1517" y="1407"/>
                  </a:lnTo>
                  <a:lnTo>
                    <a:pt x="1515" y="1399"/>
                  </a:lnTo>
                  <a:lnTo>
                    <a:pt x="1515" y="1396"/>
                  </a:lnTo>
                  <a:lnTo>
                    <a:pt x="1513" y="1392"/>
                  </a:lnTo>
                  <a:lnTo>
                    <a:pt x="1509" y="1392"/>
                  </a:lnTo>
                  <a:lnTo>
                    <a:pt x="1509" y="1384"/>
                  </a:lnTo>
                  <a:lnTo>
                    <a:pt x="1508" y="1380"/>
                  </a:lnTo>
                  <a:lnTo>
                    <a:pt x="1508" y="1376"/>
                  </a:lnTo>
                  <a:lnTo>
                    <a:pt x="1509" y="1376"/>
                  </a:lnTo>
                  <a:lnTo>
                    <a:pt x="1509" y="1367"/>
                  </a:lnTo>
                  <a:lnTo>
                    <a:pt x="1507" y="1359"/>
                  </a:lnTo>
                  <a:lnTo>
                    <a:pt x="1506" y="1354"/>
                  </a:lnTo>
                  <a:lnTo>
                    <a:pt x="1504" y="1351"/>
                  </a:lnTo>
                  <a:lnTo>
                    <a:pt x="1502" y="1347"/>
                  </a:lnTo>
                  <a:lnTo>
                    <a:pt x="1500" y="1344"/>
                  </a:lnTo>
                  <a:lnTo>
                    <a:pt x="1498" y="1342"/>
                  </a:lnTo>
                  <a:lnTo>
                    <a:pt x="1495" y="1341"/>
                  </a:lnTo>
                  <a:lnTo>
                    <a:pt x="1492" y="1339"/>
                  </a:lnTo>
                  <a:lnTo>
                    <a:pt x="1490" y="1338"/>
                  </a:lnTo>
                  <a:lnTo>
                    <a:pt x="1488" y="1334"/>
                  </a:lnTo>
                  <a:lnTo>
                    <a:pt x="1487" y="1331"/>
                  </a:lnTo>
                  <a:lnTo>
                    <a:pt x="1485" y="1327"/>
                  </a:lnTo>
                  <a:lnTo>
                    <a:pt x="1483" y="1324"/>
                  </a:lnTo>
                  <a:lnTo>
                    <a:pt x="1480" y="1323"/>
                  </a:lnTo>
                  <a:lnTo>
                    <a:pt x="1477" y="1323"/>
                  </a:lnTo>
                  <a:lnTo>
                    <a:pt x="1475" y="1322"/>
                  </a:lnTo>
                  <a:lnTo>
                    <a:pt x="1474" y="1321"/>
                  </a:lnTo>
                  <a:lnTo>
                    <a:pt x="1473" y="1320"/>
                  </a:lnTo>
                  <a:lnTo>
                    <a:pt x="1471" y="1317"/>
                  </a:lnTo>
                  <a:lnTo>
                    <a:pt x="1471" y="1313"/>
                  </a:lnTo>
                  <a:lnTo>
                    <a:pt x="1470" y="1309"/>
                  </a:lnTo>
                  <a:lnTo>
                    <a:pt x="1470" y="1307"/>
                  </a:lnTo>
                  <a:lnTo>
                    <a:pt x="1469" y="1305"/>
                  </a:lnTo>
                  <a:lnTo>
                    <a:pt x="1463" y="1305"/>
                  </a:lnTo>
                  <a:lnTo>
                    <a:pt x="1461" y="1299"/>
                  </a:lnTo>
                  <a:lnTo>
                    <a:pt x="1460" y="1294"/>
                  </a:lnTo>
                  <a:lnTo>
                    <a:pt x="1458" y="1294"/>
                  </a:lnTo>
                  <a:lnTo>
                    <a:pt x="1457" y="1289"/>
                  </a:lnTo>
                  <a:lnTo>
                    <a:pt x="1458" y="1283"/>
                  </a:lnTo>
                  <a:lnTo>
                    <a:pt x="1459" y="1277"/>
                  </a:lnTo>
                  <a:lnTo>
                    <a:pt x="1460" y="1270"/>
                  </a:lnTo>
                  <a:lnTo>
                    <a:pt x="1467" y="1249"/>
                  </a:lnTo>
                  <a:lnTo>
                    <a:pt x="1465" y="1234"/>
                  </a:lnTo>
                  <a:lnTo>
                    <a:pt x="1465" y="1230"/>
                  </a:lnTo>
                  <a:lnTo>
                    <a:pt x="1475" y="1228"/>
                  </a:lnTo>
                  <a:lnTo>
                    <a:pt x="1476" y="1230"/>
                  </a:lnTo>
                  <a:lnTo>
                    <a:pt x="1477" y="1230"/>
                  </a:lnTo>
                  <a:lnTo>
                    <a:pt x="1479" y="1230"/>
                  </a:lnTo>
                  <a:lnTo>
                    <a:pt x="1479" y="1236"/>
                  </a:lnTo>
                  <a:lnTo>
                    <a:pt x="1479" y="1238"/>
                  </a:lnTo>
                  <a:lnTo>
                    <a:pt x="1481" y="1240"/>
                  </a:lnTo>
                  <a:lnTo>
                    <a:pt x="1482" y="1240"/>
                  </a:lnTo>
                  <a:lnTo>
                    <a:pt x="1483" y="1240"/>
                  </a:lnTo>
                  <a:lnTo>
                    <a:pt x="1486" y="1240"/>
                  </a:lnTo>
                  <a:lnTo>
                    <a:pt x="1490" y="1238"/>
                  </a:lnTo>
                  <a:lnTo>
                    <a:pt x="1491" y="1239"/>
                  </a:lnTo>
                  <a:lnTo>
                    <a:pt x="1490" y="1241"/>
                  </a:lnTo>
                  <a:lnTo>
                    <a:pt x="1490" y="1242"/>
                  </a:lnTo>
                  <a:lnTo>
                    <a:pt x="1490" y="1244"/>
                  </a:lnTo>
                  <a:lnTo>
                    <a:pt x="1492" y="1245"/>
                  </a:lnTo>
                  <a:lnTo>
                    <a:pt x="1494" y="1246"/>
                  </a:lnTo>
                  <a:lnTo>
                    <a:pt x="1496" y="1247"/>
                  </a:lnTo>
                  <a:lnTo>
                    <a:pt x="1498" y="1248"/>
                  </a:lnTo>
                  <a:lnTo>
                    <a:pt x="1498" y="1249"/>
                  </a:lnTo>
                  <a:lnTo>
                    <a:pt x="1498" y="1250"/>
                  </a:lnTo>
                  <a:lnTo>
                    <a:pt x="1498" y="1253"/>
                  </a:lnTo>
                  <a:lnTo>
                    <a:pt x="1500" y="1253"/>
                  </a:lnTo>
                  <a:lnTo>
                    <a:pt x="1504" y="1261"/>
                  </a:lnTo>
                  <a:lnTo>
                    <a:pt x="1505" y="1265"/>
                  </a:lnTo>
                  <a:lnTo>
                    <a:pt x="1508" y="1269"/>
                  </a:lnTo>
                  <a:lnTo>
                    <a:pt x="1510" y="1267"/>
                  </a:lnTo>
                  <a:lnTo>
                    <a:pt x="1512" y="1266"/>
                  </a:lnTo>
                  <a:lnTo>
                    <a:pt x="1513" y="1267"/>
                  </a:lnTo>
                  <a:lnTo>
                    <a:pt x="1511" y="1272"/>
                  </a:lnTo>
                  <a:lnTo>
                    <a:pt x="1519" y="1275"/>
                  </a:lnTo>
                  <a:lnTo>
                    <a:pt x="1523" y="1276"/>
                  </a:lnTo>
                  <a:lnTo>
                    <a:pt x="1522" y="1283"/>
                  </a:lnTo>
                  <a:lnTo>
                    <a:pt x="1522" y="1289"/>
                  </a:lnTo>
                  <a:lnTo>
                    <a:pt x="1522" y="1292"/>
                  </a:lnTo>
                  <a:lnTo>
                    <a:pt x="1523" y="1294"/>
                  </a:lnTo>
                  <a:lnTo>
                    <a:pt x="1524" y="1296"/>
                  </a:lnTo>
                  <a:lnTo>
                    <a:pt x="1527" y="1297"/>
                  </a:lnTo>
                  <a:lnTo>
                    <a:pt x="1527" y="1298"/>
                  </a:lnTo>
                  <a:lnTo>
                    <a:pt x="1526" y="1299"/>
                  </a:lnTo>
                  <a:lnTo>
                    <a:pt x="1525" y="1300"/>
                  </a:lnTo>
                  <a:lnTo>
                    <a:pt x="1525" y="1301"/>
                  </a:lnTo>
                  <a:lnTo>
                    <a:pt x="1529" y="1299"/>
                  </a:lnTo>
                  <a:lnTo>
                    <a:pt x="1532" y="1297"/>
                  </a:lnTo>
                  <a:lnTo>
                    <a:pt x="1532" y="1294"/>
                  </a:lnTo>
                  <a:lnTo>
                    <a:pt x="1534" y="1293"/>
                  </a:lnTo>
                  <a:lnTo>
                    <a:pt x="1535" y="1294"/>
                  </a:lnTo>
                  <a:lnTo>
                    <a:pt x="1537" y="1294"/>
                  </a:lnTo>
                  <a:lnTo>
                    <a:pt x="1538" y="1294"/>
                  </a:lnTo>
                  <a:lnTo>
                    <a:pt x="1536" y="1289"/>
                  </a:lnTo>
                  <a:lnTo>
                    <a:pt x="1536" y="1286"/>
                  </a:lnTo>
                  <a:lnTo>
                    <a:pt x="1536" y="1285"/>
                  </a:lnTo>
                  <a:lnTo>
                    <a:pt x="1536" y="1284"/>
                  </a:lnTo>
                  <a:lnTo>
                    <a:pt x="1539" y="1286"/>
                  </a:lnTo>
                  <a:lnTo>
                    <a:pt x="1541" y="1287"/>
                  </a:lnTo>
                  <a:lnTo>
                    <a:pt x="1542" y="1288"/>
                  </a:lnTo>
                  <a:lnTo>
                    <a:pt x="1542" y="1287"/>
                  </a:lnTo>
                  <a:lnTo>
                    <a:pt x="1543" y="1285"/>
                  </a:lnTo>
                  <a:lnTo>
                    <a:pt x="1544" y="1282"/>
                  </a:lnTo>
                  <a:lnTo>
                    <a:pt x="1542" y="1281"/>
                  </a:lnTo>
                  <a:lnTo>
                    <a:pt x="1541" y="1281"/>
                  </a:lnTo>
                  <a:lnTo>
                    <a:pt x="1539" y="1280"/>
                  </a:lnTo>
                  <a:lnTo>
                    <a:pt x="1538" y="1278"/>
                  </a:lnTo>
                  <a:lnTo>
                    <a:pt x="1535" y="1273"/>
                  </a:lnTo>
                  <a:lnTo>
                    <a:pt x="1536" y="1273"/>
                  </a:lnTo>
                  <a:lnTo>
                    <a:pt x="1540" y="1274"/>
                  </a:lnTo>
                  <a:lnTo>
                    <a:pt x="1540" y="1276"/>
                  </a:lnTo>
                  <a:lnTo>
                    <a:pt x="1548" y="1277"/>
                  </a:lnTo>
                  <a:lnTo>
                    <a:pt x="1554" y="1276"/>
                  </a:lnTo>
                  <a:lnTo>
                    <a:pt x="1552" y="1274"/>
                  </a:lnTo>
                  <a:lnTo>
                    <a:pt x="1552" y="1273"/>
                  </a:lnTo>
                  <a:lnTo>
                    <a:pt x="1552" y="1272"/>
                  </a:lnTo>
                  <a:lnTo>
                    <a:pt x="1555" y="1272"/>
                  </a:lnTo>
                  <a:lnTo>
                    <a:pt x="1556" y="1272"/>
                  </a:lnTo>
                  <a:lnTo>
                    <a:pt x="1557" y="1272"/>
                  </a:lnTo>
                  <a:lnTo>
                    <a:pt x="1561" y="1271"/>
                  </a:lnTo>
                  <a:lnTo>
                    <a:pt x="1565" y="1268"/>
                  </a:lnTo>
                  <a:lnTo>
                    <a:pt x="1569" y="1266"/>
                  </a:lnTo>
                  <a:lnTo>
                    <a:pt x="1572" y="1263"/>
                  </a:lnTo>
                  <a:lnTo>
                    <a:pt x="1575" y="1260"/>
                  </a:lnTo>
                  <a:lnTo>
                    <a:pt x="1577" y="1257"/>
                  </a:lnTo>
                  <a:lnTo>
                    <a:pt x="1579" y="1254"/>
                  </a:lnTo>
                  <a:lnTo>
                    <a:pt x="1580" y="1251"/>
                  </a:lnTo>
                  <a:lnTo>
                    <a:pt x="1581" y="1248"/>
                  </a:lnTo>
                  <a:lnTo>
                    <a:pt x="1582" y="1241"/>
                  </a:lnTo>
                  <a:lnTo>
                    <a:pt x="1582" y="1233"/>
                  </a:lnTo>
                  <a:lnTo>
                    <a:pt x="1581" y="1224"/>
                  </a:lnTo>
                  <a:lnTo>
                    <a:pt x="1579" y="1215"/>
                  </a:lnTo>
                  <a:lnTo>
                    <a:pt x="1575" y="1200"/>
                  </a:lnTo>
                  <a:lnTo>
                    <a:pt x="1573" y="1198"/>
                  </a:lnTo>
                  <a:lnTo>
                    <a:pt x="1571" y="1197"/>
                  </a:lnTo>
                  <a:lnTo>
                    <a:pt x="1568" y="1196"/>
                  </a:lnTo>
                  <a:lnTo>
                    <a:pt x="1568" y="1195"/>
                  </a:lnTo>
                  <a:lnTo>
                    <a:pt x="1567" y="1194"/>
                  </a:lnTo>
                  <a:lnTo>
                    <a:pt x="1567" y="1192"/>
                  </a:lnTo>
                  <a:lnTo>
                    <a:pt x="1567" y="1190"/>
                  </a:lnTo>
                  <a:lnTo>
                    <a:pt x="1567" y="1188"/>
                  </a:lnTo>
                  <a:lnTo>
                    <a:pt x="1567" y="1186"/>
                  </a:lnTo>
                  <a:lnTo>
                    <a:pt x="1561" y="1181"/>
                  </a:lnTo>
                  <a:lnTo>
                    <a:pt x="1558" y="1177"/>
                  </a:lnTo>
                  <a:lnTo>
                    <a:pt x="1556" y="1176"/>
                  </a:lnTo>
                  <a:lnTo>
                    <a:pt x="1556" y="1175"/>
                  </a:lnTo>
                  <a:lnTo>
                    <a:pt x="1556" y="1172"/>
                  </a:lnTo>
                  <a:lnTo>
                    <a:pt x="1556" y="1169"/>
                  </a:lnTo>
                  <a:lnTo>
                    <a:pt x="1554" y="1168"/>
                  </a:lnTo>
                  <a:lnTo>
                    <a:pt x="1551" y="1167"/>
                  </a:lnTo>
                  <a:lnTo>
                    <a:pt x="1548" y="1166"/>
                  </a:lnTo>
                  <a:lnTo>
                    <a:pt x="1546" y="1165"/>
                  </a:lnTo>
                  <a:lnTo>
                    <a:pt x="1545" y="1163"/>
                  </a:lnTo>
                  <a:lnTo>
                    <a:pt x="1545" y="1161"/>
                  </a:lnTo>
                  <a:lnTo>
                    <a:pt x="1545" y="1159"/>
                  </a:lnTo>
                  <a:lnTo>
                    <a:pt x="1544" y="1158"/>
                  </a:lnTo>
                  <a:lnTo>
                    <a:pt x="1544" y="1157"/>
                  </a:lnTo>
                  <a:lnTo>
                    <a:pt x="1543" y="1156"/>
                  </a:lnTo>
                  <a:lnTo>
                    <a:pt x="1541" y="1155"/>
                  </a:lnTo>
                  <a:lnTo>
                    <a:pt x="1539" y="1154"/>
                  </a:lnTo>
                  <a:lnTo>
                    <a:pt x="1538" y="1153"/>
                  </a:lnTo>
                  <a:lnTo>
                    <a:pt x="1537" y="1151"/>
                  </a:lnTo>
                  <a:lnTo>
                    <a:pt x="1536" y="1148"/>
                  </a:lnTo>
                  <a:lnTo>
                    <a:pt x="1535" y="1144"/>
                  </a:lnTo>
                  <a:lnTo>
                    <a:pt x="1535" y="1141"/>
                  </a:lnTo>
                  <a:lnTo>
                    <a:pt x="1535" y="1137"/>
                  </a:lnTo>
                  <a:lnTo>
                    <a:pt x="1536" y="1133"/>
                  </a:lnTo>
                  <a:lnTo>
                    <a:pt x="1537" y="1130"/>
                  </a:lnTo>
                  <a:lnTo>
                    <a:pt x="1538" y="1127"/>
                  </a:lnTo>
                  <a:lnTo>
                    <a:pt x="1539" y="1126"/>
                  </a:lnTo>
                  <a:lnTo>
                    <a:pt x="1541" y="1125"/>
                  </a:lnTo>
                  <a:lnTo>
                    <a:pt x="1543" y="1125"/>
                  </a:lnTo>
                  <a:lnTo>
                    <a:pt x="1544" y="1125"/>
                  </a:lnTo>
                  <a:lnTo>
                    <a:pt x="1545" y="1123"/>
                  </a:lnTo>
                  <a:lnTo>
                    <a:pt x="1546" y="1122"/>
                  </a:lnTo>
                  <a:lnTo>
                    <a:pt x="1548" y="1118"/>
                  </a:lnTo>
                  <a:lnTo>
                    <a:pt x="1549" y="1114"/>
                  </a:lnTo>
                  <a:lnTo>
                    <a:pt x="1550" y="1113"/>
                  </a:lnTo>
                  <a:lnTo>
                    <a:pt x="1552" y="1111"/>
                  </a:lnTo>
                  <a:lnTo>
                    <a:pt x="1558" y="1105"/>
                  </a:lnTo>
                  <a:lnTo>
                    <a:pt x="1561" y="1103"/>
                  </a:lnTo>
                  <a:lnTo>
                    <a:pt x="1565" y="1101"/>
                  </a:lnTo>
                  <a:lnTo>
                    <a:pt x="1569" y="1100"/>
                  </a:lnTo>
                  <a:lnTo>
                    <a:pt x="1574" y="1098"/>
                  </a:lnTo>
                  <a:lnTo>
                    <a:pt x="1580" y="1098"/>
                  </a:lnTo>
                  <a:lnTo>
                    <a:pt x="1586" y="1098"/>
                  </a:lnTo>
                  <a:lnTo>
                    <a:pt x="1585" y="1105"/>
                  </a:lnTo>
                  <a:lnTo>
                    <a:pt x="1585" y="1110"/>
                  </a:lnTo>
                  <a:lnTo>
                    <a:pt x="1586" y="1112"/>
                  </a:lnTo>
                  <a:lnTo>
                    <a:pt x="1587" y="1114"/>
                  </a:lnTo>
                  <a:lnTo>
                    <a:pt x="1590" y="1121"/>
                  </a:lnTo>
                  <a:lnTo>
                    <a:pt x="1592" y="1119"/>
                  </a:lnTo>
                  <a:lnTo>
                    <a:pt x="1594" y="1118"/>
                  </a:lnTo>
                  <a:lnTo>
                    <a:pt x="1595" y="1118"/>
                  </a:lnTo>
                  <a:lnTo>
                    <a:pt x="1596" y="1119"/>
                  </a:lnTo>
                  <a:lnTo>
                    <a:pt x="1596" y="1116"/>
                  </a:lnTo>
                  <a:lnTo>
                    <a:pt x="1596" y="1113"/>
                  </a:lnTo>
                  <a:lnTo>
                    <a:pt x="1595" y="1113"/>
                  </a:lnTo>
                  <a:lnTo>
                    <a:pt x="1594" y="1113"/>
                  </a:lnTo>
                  <a:lnTo>
                    <a:pt x="1593" y="1112"/>
                  </a:lnTo>
                  <a:lnTo>
                    <a:pt x="1593" y="1110"/>
                  </a:lnTo>
                  <a:lnTo>
                    <a:pt x="1592" y="1109"/>
                  </a:lnTo>
                  <a:lnTo>
                    <a:pt x="1595" y="1108"/>
                  </a:lnTo>
                  <a:lnTo>
                    <a:pt x="1598" y="1106"/>
                  </a:lnTo>
                  <a:lnTo>
                    <a:pt x="1603" y="1104"/>
                  </a:lnTo>
                  <a:lnTo>
                    <a:pt x="1604" y="1102"/>
                  </a:lnTo>
                  <a:lnTo>
                    <a:pt x="1605" y="1101"/>
                  </a:lnTo>
                  <a:lnTo>
                    <a:pt x="1606" y="1099"/>
                  </a:lnTo>
                  <a:lnTo>
                    <a:pt x="1607" y="1098"/>
                  </a:lnTo>
                  <a:lnTo>
                    <a:pt x="1610" y="1097"/>
                  </a:lnTo>
                  <a:lnTo>
                    <a:pt x="1612" y="1096"/>
                  </a:lnTo>
                  <a:lnTo>
                    <a:pt x="1617" y="1096"/>
                  </a:lnTo>
                  <a:lnTo>
                    <a:pt x="1623" y="1095"/>
                  </a:lnTo>
                  <a:lnTo>
                    <a:pt x="1628" y="1094"/>
                  </a:lnTo>
                  <a:lnTo>
                    <a:pt x="1631" y="1092"/>
                  </a:lnTo>
                  <a:lnTo>
                    <a:pt x="1633" y="1089"/>
                  </a:lnTo>
                  <a:lnTo>
                    <a:pt x="1634" y="1085"/>
                  </a:lnTo>
                  <a:lnTo>
                    <a:pt x="1636" y="1082"/>
                  </a:lnTo>
                  <a:lnTo>
                    <a:pt x="1642" y="1088"/>
                  </a:lnTo>
                  <a:lnTo>
                    <a:pt x="1645" y="1086"/>
                  </a:lnTo>
                  <a:lnTo>
                    <a:pt x="1648" y="1084"/>
                  </a:lnTo>
                  <a:lnTo>
                    <a:pt x="1652" y="1083"/>
                  </a:lnTo>
                  <a:lnTo>
                    <a:pt x="1655" y="1082"/>
                  </a:lnTo>
                  <a:lnTo>
                    <a:pt x="1659" y="1082"/>
                  </a:lnTo>
                  <a:lnTo>
                    <a:pt x="1663" y="1082"/>
                  </a:lnTo>
                  <a:lnTo>
                    <a:pt x="1667" y="1080"/>
                  </a:lnTo>
                  <a:lnTo>
                    <a:pt x="1667" y="1079"/>
                  </a:lnTo>
                  <a:lnTo>
                    <a:pt x="1667" y="1076"/>
                  </a:lnTo>
                  <a:lnTo>
                    <a:pt x="1667" y="1071"/>
                  </a:lnTo>
                  <a:lnTo>
                    <a:pt x="1676" y="1066"/>
                  </a:lnTo>
                  <a:lnTo>
                    <a:pt x="1686" y="1061"/>
                  </a:lnTo>
                  <a:lnTo>
                    <a:pt x="1686" y="1057"/>
                  </a:lnTo>
                  <a:lnTo>
                    <a:pt x="1686" y="1054"/>
                  </a:lnTo>
                  <a:lnTo>
                    <a:pt x="1688" y="1053"/>
                  </a:lnTo>
                  <a:lnTo>
                    <a:pt x="1689" y="1053"/>
                  </a:lnTo>
                  <a:lnTo>
                    <a:pt x="1693" y="1053"/>
                  </a:lnTo>
                  <a:lnTo>
                    <a:pt x="1696" y="1053"/>
                  </a:lnTo>
                  <a:lnTo>
                    <a:pt x="1698" y="1052"/>
                  </a:lnTo>
                  <a:lnTo>
                    <a:pt x="1699" y="1052"/>
                  </a:lnTo>
                  <a:lnTo>
                    <a:pt x="1698" y="1046"/>
                  </a:lnTo>
                  <a:lnTo>
                    <a:pt x="1701" y="1044"/>
                  </a:lnTo>
                  <a:lnTo>
                    <a:pt x="1702" y="1044"/>
                  </a:lnTo>
                  <a:lnTo>
                    <a:pt x="1699" y="1044"/>
                  </a:lnTo>
                  <a:lnTo>
                    <a:pt x="1699" y="1040"/>
                  </a:lnTo>
                  <a:lnTo>
                    <a:pt x="1703" y="1040"/>
                  </a:lnTo>
                  <a:lnTo>
                    <a:pt x="1707" y="1040"/>
                  </a:lnTo>
                  <a:lnTo>
                    <a:pt x="1707" y="1032"/>
                  </a:lnTo>
                  <a:lnTo>
                    <a:pt x="1707" y="1027"/>
                  </a:lnTo>
                  <a:lnTo>
                    <a:pt x="1706" y="1026"/>
                  </a:lnTo>
                  <a:lnTo>
                    <a:pt x="1705" y="1025"/>
                  </a:lnTo>
                  <a:lnTo>
                    <a:pt x="1704" y="1024"/>
                  </a:lnTo>
                  <a:lnTo>
                    <a:pt x="1703" y="1024"/>
                  </a:lnTo>
                  <a:lnTo>
                    <a:pt x="1703" y="1023"/>
                  </a:lnTo>
                  <a:lnTo>
                    <a:pt x="1705" y="1023"/>
                  </a:lnTo>
                  <a:lnTo>
                    <a:pt x="1706" y="1021"/>
                  </a:lnTo>
                  <a:lnTo>
                    <a:pt x="1706" y="1018"/>
                  </a:lnTo>
                  <a:lnTo>
                    <a:pt x="1706" y="1015"/>
                  </a:lnTo>
                  <a:lnTo>
                    <a:pt x="1707" y="1013"/>
                  </a:lnTo>
                  <a:lnTo>
                    <a:pt x="1708" y="1013"/>
                  </a:lnTo>
                  <a:lnTo>
                    <a:pt x="1710" y="1013"/>
                  </a:lnTo>
                  <a:lnTo>
                    <a:pt x="1713" y="1013"/>
                  </a:lnTo>
                  <a:lnTo>
                    <a:pt x="1714" y="1012"/>
                  </a:lnTo>
                  <a:lnTo>
                    <a:pt x="1716" y="1010"/>
                  </a:lnTo>
                  <a:lnTo>
                    <a:pt x="1717" y="1007"/>
                  </a:lnTo>
                  <a:lnTo>
                    <a:pt x="1719" y="1006"/>
                  </a:lnTo>
                  <a:lnTo>
                    <a:pt x="1721" y="1006"/>
                  </a:lnTo>
                  <a:lnTo>
                    <a:pt x="1721" y="1004"/>
                  </a:lnTo>
                  <a:lnTo>
                    <a:pt x="1721" y="1002"/>
                  </a:lnTo>
                  <a:lnTo>
                    <a:pt x="1720" y="1000"/>
                  </a:lnTo>
                  <a:lnTo>
                    <a:pt x="1721" y="998"/>
                  </a:lnTo>
                  <a:lnTo>
                    <a:pt x="1723" y="994"/>
                  </a:lnTo>
                  <a:lnTo>
                    <a:pt x="1725" y="992"/>
                  </a:lnTo>
                  <a:lnTo>
                    <a:pt x="1726" y="990"/>
                  </a:lnTo>
                  <a:lnTo>
                    <a:pt x="1728" y="991"/>
                  </a:lnTo>
                  <a:lnTo>
                    <a:pt x="1729" y="991"/>
                  </a:lnTo>
                  <a:lnTo>
                    <a:pt x="1730" y="991"/>
                  </a:lnTo>
                  <a:lnTo>
                    <a:pt x="1732" y="990"/>
                  </a:lnTo>
                  <a:lnTo>
                    <a:pt x="1730" y="983"/>
                  </a:lnTo>
                  <a:lnTo>
                    <a:pt x="1730" y="979"/>
                  </a:lnTo>
                  <a:lnTo>
                    <a:pt x="1730" y="975"/>
                  </a:lnTo>
                  <a:lnTo>
                    <a:pt x="1736" y="975"/>
                  </a:lnTo>
                  <a:lnTo>
                    <a:pt x="1737" y="970"/>
                  </a:lnTo>
                  <a:lnTo>
                    <a:pt x="1737" y="968"/>
                  </a:lnTo>
                  <a:lnTo>
                    <a:pt x="1735" y="968"/>
                  </a:lnTo>
                  <a:lnTo>
                    <a:pt x="1734" y="968"/>
                  </a:lnTo>
                  <a:lnTo>
                    <a:pt x="1740" y="963"/>
                  </a:lnTo>
                  <a:lnTo>
                    <a:pt x="1737" y="960"/>
                  </a:lnTo>
                  <a:lnTo>
                    <a:pt x="1734" y="958"/>
                  </a:lnTo>
                  <a:lnTo>
                    <a:pt x="1732" y="958"/>
                  </a:lnTo>
                  <a:lnTo>
                    <a:pt x="1729" y="958"/>
                  </a:lnTo>
                  <a:lnTo>
                    <a:pt x="1727" y="959"/>
                  </a:lnTo>
                  <a:lnTo>
                    <a:pt x="1726" y="959"/>
                  </a:lnTo>
                  <a:lnTo>
                    <a:pt x="1726" y="960"/>
                  </a:lnTo>
                  <a:lnTo>
                    <a:pt x="1725" y="960"/>
                  </a:lnTo>
                  <a:lnTo>
                    <a:pt x="1724" y="958"/>
                  </a:lnTo>
                  <a:lnTo>
                    <a:pt x="1723" y="956"/>
                  </a:lnTo>
                  <a:lnTo>
                    <a:pt x="1731" y="950"/>
                  </a:lnTo>
                  <a:lnTo>
                    <a:pt x="1734" y="948"/>
                  </a:lnTo>
                  <a:lnTo>
                    <a:pt x="1735" y="946"/>
                  </a:lnTo>
                  <a:lnTo>
                    <a:pt x="1735" y="943"/>
                  </a:lnTo>
                  <a:lnTo>
                    <a:pt x="1734" y="940"/>
                  </a:lnTo>
                  <a:lnTo>
                    <a:pt x="1731" y="937"/>
                  </a:lnTo>
                  <a:lnTo>
                    <a:pt x="1726" y="933"/>
                  </a:lnTo>
                  <a:lnTo>
                    <a:pt x="1730" y="933"/>
                  </a:lnTo>
                  <a:lnTo>
                    <a:pt x="1730" y="927"/>
                  </a:lnTo>
                  <a:lnTo>
                    <a:pt x="1727" y="923"/>
                  </a:lnTo>
                  <a:lnTo>
                    <a:pt x="1723" y="919"/>
                  </a:lnTo>
                  <a:lnTo>
                    <a:pt x="1719" y="915"/>
                  </a:lnTo>
                  <a:lnTo>
                    <a:pt x="1718" y="913"/>
                  </a:lnTo>
                  <a:lnTo>
                    <a:pt x="1717" y="911"/>
                  </a:lnTo>
                  <a:lnTo>
                    <a:pt x="1717" y="908"/>
                  </a:lnTo>
                  <a:lnTo>
                    <a:pt x="1717" y="906"/>
                  </a:lnTo>
                  <a:lnTo>
                    <a:pt x="1717" y="904"/>
                  </a:lnTo>
                  <a:lnTo>
                    <a:pt x="1716" y="903"/>
                  </a:lnTo>
                  <a:lnTo>
                    <a:pt x="1714" y="903"/>
                  </a:lnTo>
                  <a:lnTo>
                    <a:pt x="1711" y="902"/>
                  </a:lnTo>
                  <a:lnTo>
                    <a:pt x="1710" y="901"/>
                  </a:lnTo>
                  <a:lnTo>
                    <a:pt x="1712" y="900"/>
                  </a:lnTo>
                  <a:lnTo>
                    <a:pt x="1713" y="899"/>
                  </a:lnTo>
                  <a:lnTo>
                    <a:pt x="1714" y="899"/>
                  </a:lnTo>
                  <a:lnTo>
                    <a:pt x="1713" y="898"/>
                  </a:lnTo>
                  <a:lnTo>
                    <a:pt x="1711" y="897"/>
                  </a:lnTo>
                  <a:lnTo>
                    <a:pt x="1709" y="895"/>
                  </a:lnTo>
                  <a:lnTo>
                    <a:pt x="1708" y="892"/>
                  </a:lnTo>
                  <a:lnTo>
                    <a:pt x="1706" y="889"/>
                  </a:lnTo>
                  <a:lnTo>
                    <a:pt x="1705" y="886"/>
                  </a:lnTo>
                  <a:lnTo>
                    <a:pt x="1705" y="882"/>
                  </a:lnTo>
                  <a:lnTo>
                    <a:pt x="1705" y="879"/>
                  </a:lnTo>
                  <a:lnTo>
                    <a:pt x="1705" y="875"/>
                  </a:lnTo>
                  <a:lnTo>
                    <a:pt x="1706" y="874"/>
                  </a:lnTo>
                  <a:lnTo>
                    <a:pt x="1707" y="872"/>
                  </a:lnTo>
                  <a:lnTo>
                    <a:pt x="1710" y="871"/>
                  </a:lnTo>
                  <a:lnTo>
                    <a:pt x="1713" y="869"/>
                  </a:lnTo>
                  <a:lnTo>
                    <a:pt x="1715" y="867"/>
                  </a:lnTo>
                  <a:lnTo>
                    <a:pt x="1715" y="866"/>
                  </a:lnTo>
                  <a:lnTo>
                    <a:pt x="1714" y="865"/>
                  </a:lnTo>
                  <a:lnTo>
                    <a:pt x="1713" y="863"/>
                  </a:lnTo>
                  <a:lnTo>
                    <a:pt x="1721" y="855"/>
                  </a:lnTo>
                  <a:lnTo>
                    <a:pt x="1726" y="851"/>
                  </a:lnTo>
                  <a:lnTo>
                    <a:pt x="1730" y="848"/>
                  </a:lnTo>
                  <a:lnTo>
                    <a:pt x="1733" y="847"/>
                  </a:lnTo>
                  <a:lnTo>
                    <a:pt x="1738" y="846"/>
                  </a:lnTo>
                  <a:lnTo>
                    <a:pt x="1743" y="845"/>
                  </a:lnTo>
                  <a:lnTo>
                    <a:pt x="1746" y="844"/>
                  </a:lnTo>
                  <a:lnTo>
                    <a:pt x="1746" y="842"/>
                  </a:lnTo>
                  <a:lnTo>
                    <a:pt x="1747" y="839"/>
                  </a:lnTo>
                  <a:lnTo>
                    <a:pt x="1747" y="837"/>
                  </a:lnTo>
                  <a:lnTo>
                    <a:pt x="1747" y="835"/>
                  </a:lnTo>
                  <a:lnTo>
                    <a:pt x="1739" y="835"/>
                  </a:lnTo>
                  <a:lnTo>
                    <a:pt x="1730" y="835"/>
                  </a:lnTo>
                  <a:lnTo>
                    <a:pt x="1726" y="832"/>
                  </a:lnTo>
                  <a:lnTo>
                    <a:pt x="1722" y="831"/>
                  </a:lnTo>
                  <a:lnTo>
                    <a:pt x="1720" y="830"/>
                  </a:lnTo>
                  <a:lnTo>
                    <a:pt x="1717" y="831"/>
                  </a:lnTo>
                  <a:lnTo>
                    <a:pt x="1714" y="832"/>
                  </a:lnTo>
                  <a:lnTo>
                    <a:pt x="1712" y="836"/>
                  </a:lnTo>
                  <a:lnTo>
                    <a:pt x="1709" y="839"/>
                  </a:lnTo>
                  <a:lnTo>
                    <a:pt x="1707" y="840"/>
                  </a:lnTo>
                  <a:lnTo>
                    <a:pt x="1702" y="842"/>
                  </a:lnTo>
                  <a:lnTo>
                    <a:pt x="1698" y="842"/>
                  </a:lnTo>
                  <a:lnTo>
                    <a:pt x="1696" y="838"/>
                  </a:lnTo>
                  <a:lnTo>
                    <a:pt x="1694" y="835"/>
                  </a:lnTo>
                  <a:lnTo>
                    <a:pt x="1690" y="828"/>
                  </a:lnTo>
                  <a:lnTo>
                    <a:pt x="1686" y="821"/>
                  </a:lnTo>
                  <a:lnTo>
                    <a:pt x="1682" y="814"/>
                  </a:lnTo>
                  <a:lnTo>
                    <a:pt x="1684" y="812"/>
                  </a:lnTo>
                  <a:lnTo>
                    <a:pt x="1684" y="811"/>
                  </a:lnTo>
                  <a:lnTo>
                    <a:pt x="1685" y="809"/>
                  </a:lnTo>
                  <a:lnTo>
                    <a:pt x="1685" y="808"/>
                  </a:lnTo>
                  <a:lnTo>
                    <a:pt x="1686" y="808"/>
                  </a:lnTo>
                  <a:lnTo>
                    <a:pt x="1688" y="807"/>
                  </a:lnTo>
                  <a:lnTo>
                    <a:pt x="1689" y="807"/>
                  </a:lnTo>
                  <a:lnTo>
                    <a:pt x="1693" y="808"/>
                  </a:lnTo>
                  <a:lnTo>
                    <a:pt x="1696" y="808"/>
                  </a:lnTo>
                  <a:lnTo>
                    <a:pt x="1698" y="808"/>
                  </a:lnTo>
                  <a:lnTo>
                    <a:pt x="1699" y="808"/>
                  </a:lnTo>
                  <a:lnTo>
                    <a:pt x="1700" y="806"/>
                  </a:lnTo>
                  <a:lnTo>
                    <a:pt x="1701" y="803"/>
                  </a:lnTo>
                  <a:lnTo>
                    <a:pt x="1702" y="800"/>
                  </a:lnTo>
                  <a:lnTo>
                    <a:pt x="1703" y="798"/>
                  </a:lnTo>
                  <a:lnTo>
                    <a:pt x="1706" y="796"/>
                  </a:lnTo>
                  <a:lnTo>
                    <a:pt x="1710" y="795"/>
                  </a:lnTo>
                  <a:lnTo>
                    <a:pt x="1714" y="794"/>
                  </a:lnTo>
                  <a:lnTo>
                    <a:pt x="1717" y="792"/>
                  </a:lnTo>
                  <a:lnTo>
                    <a:pt x="1720" y="789"/>
                  </a:lnTo>
                  <a:lnTo>
                    <a:pt x="1723" y="783"/>
                  </a:lnTo>
                  <a:lnTo>
                    <a:pt x="1728" y="773"/>
                  </a:lnTo>
                  <a:lnTo>
                    <a:pt x="1739" y="777"/>
                  </a:lnTo>
                  <a:lnTo>
                    <a:pt x="1742" y="778"/>
                  </a:lnTo>
                  <a:lnTo>
                    <a:pt x="1743" y="780"/>
                  </a:lnTo>
                  <a:lnTo>
                    <a:pt x="1742" y="781"/>
                  </a:lnTo>
                  <a:lnTo>
                    <a:pt x="1741" y="784"/>
                  </a:lnTo>
                  <a:lnTo>
                    <a:pt x="1738" y="788"/>
                  </a:lnTo>
                  <a:lnTo>
                    <a:pt x="1736" y="792"/>
                  </a:lnTo>
                  <a:lnTo>
                    <a:pt x="1734" y="796"/>
                  </a:lnTo>
                  <a:lnTo>
                    <a:pt x="1732" y="802"/>
                  </a:lnTo>
                  <a:lnTo>
                    <a:pt x="1731" y="805"/>
                  </a:lnTo>
                  <a:lnTo>
                    <a:pt x="1731" y="806"/>
                  </a:lnTo>
                  <a:lnTo>
                    <a:pt x="1733" y="806"/>
                  </a:lnTo>
                  <a:lnTo>
                    <a:pt x="1736" y="804"/>
                  </a:lnTo>
                  <a:lnTo>
                    <a:pt x="1735" y="806"/>
                  </a:lnTo>
                  <a:lnTo>
                    <a:pt x="1733" y="810"/>
                  </a:lnTo>
                  <a:lnTo>
                    <a:pt x="1732" y="813"/>
                  </a:lnTo>
                  <a:lnTo>
                    <a:pt x="1733" y="814"/>
                  </a:lnTo>
                  <a:lnTo>
                    <a:pt x="1734" y="814"/>
                  </a:lnTo>
                  <a:lnTo>
                    <a:pt x="1737" y="812"/>
                  </a:lnTo>
                  <a:lnTo>
                    <a:pt x="1740" y="809"/>
                  </a:lnTo>
                  <a:lnTo>
                    <a:pt x="1747" y="801"/>
                  </a:lnTo>
                  <a:lnTo>
                    <a:pt x="1751" y="797"/>
                  </a:lnTo>
                  <a:lnTo>
                    <a:pt x="1756" y="794"/>
                  </a:lnTo>
                  <a:lnTo>
                    <a:pt x="1758" y="793"/>
                  </a:lnTo>
                  <a:lnTo>
                    <a:pt x="1760" y="793"/>
                  </a:lnTo>
                  <a:lnTo>
                    <a:pt x="1762" y="792"/>
                  </a:lnTo>
                  <a:lnTo>
                    <a:pt x="1765" y="792"/>
                  </a:lnTo>
                  <a:lnTo>
                    <a:pt x="1766" y="793"/>
                  </a:lnTo>
                  <a:lnTo>
                    <a:pt x="1768" y="795"/>
                  </a:lnTo>
                  <a:lnTo>
                    <a:pt x="1769" y="795"/>
                  </a:lnTo>
                  <a:lnTo>
                    <a:pt x="1770" y="796"/>
                  </a:lnTo>
                  <a:lnTo>
                    <a:pt x="1772" y="796"/>
                  </a:lnTo>
                  <a:lnTo>
                    <a:pt x="1774" y="795"/>
                  </a:lnTo>
                  <a:lnTo>
                    <a:pt x="1777" y="797"/>
                  </a:lnTo>
                  <a:lnTo>
                    <a:pt x="1779" y="799"/>
                  </a:lnTo>
                  <a:lnTo>
                    <a:pt x="1780" y="800"/>
                  </a:lnTo>
                  <a:lnTo>
                    <a:pt x="1781" y="801"/>
                  </a:lnTo>
                  <a:lnTo>
                    <a:pt x="1781" y="803"/>
                  </a:lnTo>
                  <a:lnTo>
                    <a:pt x="1780" y="805"/>
                  </a:lnTo>
                  <a:lnTo>
                    <a:pt x="1779" y="806"/>
                  </a:lnTo>
                  <a:lnTo>
                    <a:pt x="1778" y="808"/>
                  </a:lnTo>
                  <a:lnTo>
                    <a:pt x="1780" y="810"/>
                  </a:lnTo>
                  <a:lnTo>
                    <a:pt x="1782" y="812"/>
                  </a:lnTo>
                  <a:lnTo>
                    <a:pt x="1782" y="813"/>
                  </a:lnTo>
                  <a:lnTo>
                    <a:pt x="1782" y="814"/>
                  </a:lnTo>
                  <a:lnTo>
                    <a:pt x="1776" y="814"/>
                  </a:lnTo>
                  <a:lnTo>
                    <a:pt x="1775" y="816"/>
                  </a:lnTo>
                  <a:lnTo>
                    <a:pt x="1774" y="817"/>
                  </a:lnTo>
                  <a:lnTo>
                    <a:pt x="1772" y="817"/>
                  </a:lnTo>
                  <a:lnTo>
                    <a:pt x="1773" y="820"/>
                  </a:lnTo>
                  <a:lnTo>
                    <a:pt x="1772" y="823"/>
                  </a:lnTo>
                  <a:lnTo>
                    <a:pt x="1774" y="824"/>
                  </a:lnTo>
                  <a:lnTo>
                    <a:pt x="1776" y="824"/>
                  </a:lnTo>
                  <a:lnTo>
                    <a:pt x="1778" y="824"/>
                  </a:lnTo>
                  <a:lnTo>
                    <a:pt x="1780" y="825"/>
                  </a:lnTo>
                  <a:lnTo>
                    <a:pt x="1778" y="831"/>
                  </a:lnTo>
                  <a:lnTo>
                    <a:pt x="1783" y="831"/>
                  </a:lnTo>
                  <a:lnTo>
                    <a:pt x="1786" y="832"/>
                  </a:lnTo>
                  <a:lnTo>
                    <a:pt x="1786" y="831"/>
                  </a:lnTo>
                  <a:lnTo>
                    <a:pt x="1792" y="831"/>
                  </a:lnTo>
                  <a:lnTo>
                    <a:pt x="1797" y="831"/>
                  </a:lnTo>
                  <a:lnTo>
                    <a:pt x="1799" y="837"/>
                  </a:lnTo>
                  <a:lnTo>
                    <a:pt x="1800" y="840"/>
                  </a:lnTo>
                  <a:lnTo>
                    <a:pt x="1800" y="842"/>
                  </a:lnTo>
                  <a:lnTo>
                    <a:pt x="1800" y="843"/>
                  </a:lnTo>
                  <a:lnTo>
                    <a:pt x="1798" y="844"/>
                  </a:lnTo>
                  <a:lnTo>
                    <a:pt x="1795" y="846"/>
                  </a:lnTo>
                  <a:lnTo>
                    <a:pt x="1801" y="852"/>
                  </a:lnTo>
                  <a:lnTo>
                    <a:pt x="1801" y="853"/>
                  </a:lnTo>
                  <a:lnTo>
                    <a:pt x="1801" y="854"/>
                  </a:lnTo>
                  <a:lnTo>
                    <a:pt x="1799" y="856"/>
                  </a:lnTo>
                  <a:lnTo>
                    <a:pt x="1799" y="857"/>
                  </a:lnTo>
                  <a:lnTo>
                    <a:pt x="1799" y="862"/>
                  </a:lnTo>
                  <a:lnTo>
                    <a:pt x="1800" y="861"/>
                  </a:lnTo>
                  <a:lnTo>
                    <a:pt x="1801" y="864"/>
                  </a:lnTo>
                  <a:lnTo>
                    <a:pt x="1801" y="869"/>
                  </a:lnTo>
                  <a:lnTo>
                    <a:pt x="1798" y="870"/>
                  </a:lnTo>
                  <a:lnTo>
                    <a:pt x="1795" y="871"/>
                  </a:lnTo>
                  <a:lnTo>
                    <a:pt x="1795" y="882"/>
                  </a:lnTo>
                  <a:lnTo>
                    <a:pt x="1794" y="887"/>
                  </a:lnTo>
                  <a:lnTo>
                    <a:pt x="1794" y="892"/>
                  </a:lnTo>
                  <a:lnTo>
                    <a:pt x="1795" y="892"/>
                  </a:lnTo>
                  <a:lnTo>
                    <a:pt x="1796" y="892"/>
                  </a:lnTo>
                  <a:lnTo>
                    <a:pt x="1797" y="892"/>
                  </a:lnTo>
                  <a:lnTo>
                    <a:pt x="1799" y="894"/>
                  </a:lnTo>
                  <a:lnTo>
                    <a:pt x="1805" y="888"/>
                  </a:lnTo>
                  <a:lnTo>
                    <a:pt x="1809" y="885"/>
                  </a:lnTo>
                  <a:lnTo>
                    <a:pt x="1811" y="884"/>
                  </a:lnTo>
                  <a:lnTo>
                    <a:pt x="1813" y="883"/>
                  </a:lnTo>
                  <a:lnTo>
                    <a:pt x="1817" y="881"/>
                  </a:lnTo>
                  <a:lnTo>
                    <a:pt x="1822" y="880"/>
                  </a:lnTo>
                  <a:lnTo>
                    <a:pt x="1827" y="878"/>
                  </a:lnTo>
                  <a:lnTo>
                    <a:pt x="1829" y="877"/>
                  </a:lnTo>
                  <a:lnTo>
                    <a:pt x="1830" y="875"/>
                  </a:lnTo>
                  <a:lnTo>
                    <a:pt x="1831" y="873"/>
                  </a:lnTo>
                  <a:lnTo>
                    <a:pt x="1831" y="870"/>
                  </a:lnTo>
                  <a:lnTo>
                    <a:pt x="1832" y="865"/>
                  </a:lnTo>
                  <a:lnTo>
                    <a:pt x="1832" y="861"/>
                  </a:lnTo>
                  <a:lnTo>
                    <a:pt x="1832" y="851"/>
                  </a:lnTo>
                  <a:lnTo>
                    <a:pt x="1832" y="844"/>
                  </a:lnTo>
                  <a:lnTo>
                    <a:pt x="1829" y="842"/>
                  </a:lnTo>
                  <a:lnTo>
                    <a:pt x="1826" y="839"/>
                  </a:lnTo>
                  <a:lnTo>
                    <a:pt x="1826" y="836"/>
                  </a:lnTo>
                  <a:lnTo>
                    <a:pt x="1826" y="833"/>
                  </a:lnTo>
                  <a:lnTo>
                    <a:pt x="1822" y="833"/>
                  </a:lnTo>
                  <a:lnTo>
                    <a:pt x="1822" y="831"/>
                  </a:lnTo>
                  <a:lnTo>
                    <a:pt x="1822" y="829"/>
                  </a:lnTo>
                  <a:lnTo>
                    <a:pt x="1822" y="827"/>
                  </a:lnTo>
                  <a:lnTo>
                    <a:pt x="1822" y="825"/>
                  </a:lnTo>
                  <a:lnTo>
                    <a:pt x="1820" y="823"/>
                  </a:lnTo>
                  <a:lnTo>
                    <a:pt x="1818" y="822"/>
                  </a:lnTo>
                  <a:lnTo>
                    <a:pt x="1817" y="820"/>
                  </a:lnTo>
                  <a:lnTo>
                    <a:pt x="1817" y="819"/>
                  </a:lnTo>
                  <a:lnTo>
                    <a:pt x="1817" y="818"/>
                  </a:lnTo>
                  <a:lnTo>
                    <a:pt x="1817" y="817"/>
                  </a:lnTo>
                  <a:lnTo>
                    <a:pt x="1818" y="816"/>
                  </a:lnTo>
                  <a:lnTo>
                    <a:pt x="1819" y="815"/>
                  </a:lnTo>
                  <a:lnTo>
                    <a:pt x="1818" y="814"/>
                  </a:lnTo>
                  <a:lnTo>
                    <a:pt x="1817" y="812"/>
                  </a:lnTo>
                  <a:lnTo>
                    <a:pt x="1816" y="811"/>
                  </a:lnTo>
                  <a:lnTo>
                    <a:pt x="1813" y="810"/>
                  </a:lnTo>
                  <a:lnTo>
                    <a:pt x="1809" y="809"/>
                  </a:lnTo>
                  <a:lnTo>
                    <a:pt x="1805" y="808"/>
                  </a:lnTo>
                  <a:lnTo>
                    <a:pt x="1809" y="794"/>
                  </a:lnTo>
                  <a:lnTo>
                    <a:pt x="1811" y="793"/>
                  </a:lnTo>
                  <a:lnTo>
                    <a:pt x="1813" y="792"/>
                  </a:lnTo>
                  <a:lnTo>
                    <a:pt x="1816" y="792"/>
                  </a:lnTo>
                  <a:lnTo>
                    <a:pt x="1818" y="791"/>
                  </a:lnTo>
                  <a:lnTo>
                    <a:pt x="1819" y="790"/>
                  </a:lnTo>
                  <a:lnTo>
                    <a:pt x="1820" y="789"/>
                  </a:lnTo>
                  <a:lnTo>
                    <a:pt x="1820" y="787"/>
                  </a:lnTo>
                  <a:lnTo>
                    <a:pt x="1821" y="784"/>
                  </a:lnTo>
                  <a:lnTo>
                    <a:pt x="1822" y="783"/>
                  </a:lnTo>
                  <a:lnTo>
                    <a:pt x="1824" y="782"/>
                  </a:lnTo>
                  <a:lnTo>
                    <a:pt x="1827" y="782"/>
                  </a:lnTo>
                  <a:lnTo>
                    <a:pt x="1830" y="782"/>
                  </a:lnTo>
                  <a:lnTo>
                    <a:pt x="1831" y="781"/>
                  </a:lnTo>
                  <a:lnTo>
                    <a:pt x="1832" y="781"/>
                  </a:lnTo>
                  <a:lnTo>
                    <a:pt x="1834" y="778"/>
                  </a:lnTo>
                  <a:lnTo>
                    <a:pt x="1834" y="774"/>
                  </a:lnTo>
                  <a:lnTo>
                    <a:pt x="1835" y="770"/>
                  </a:lnTo>
                  <a:lnTo>
                    <a:pt x="1836" y="766"/>
                  </a:lnTo>
                  <a:lnTo>
                    <a:pt x="1834" y="765"/>
                  </a:lnTo>
                  <a:lnTo>
                    <a:pt x="1832" y="765"/>
                  </a:lnTo>
                  <a:lnTo>
                    <a:pt x="1831" y="765"/>
                  </a:lnTo>
                  <a:lnTo>
                    <a:pt x="1830" y="764"/>
                  </a:lnTo>
                  <a:lnTo>
                    <a:pt x="1830" y="762"/>
                  </a:lnTo>
                  <a:lnTo>
                    <a:pt x="1830" y="761"/>
                  </a:lnTo>
                  <a:lnTo>
                    <a:pt x="1830" y="759"/>
                  </a:lnTo>
                  <a:lnTo>
                    <a:pt x="1830" y="758"/>
                  </a:lnTo>
                  <a:lnTo>
                    <a:pt x="1849" y="742"/>
                  </a:lnTo>
                  <a:lnTo>
                    <a:pt x="1858" y="735"/>
                  </a:lnTo>
                  <a:lnTo>
                    <a:pt x="1859" y="732"/>
                  </a:lnTo>
                  <a:lnTo>
                    <a:pt x="1860" y="729"/>
                  </a:lnTo>
                  <a:lnTo>
                    <a:pt x="1865" y="729"/>
                  </a:lnTo>
                  <a:lnTo>
                    <a:pt x="1871" y="729"/>
                  </a:lnTo>
                  <a:lnTo>
                    <a:pt x="1869" y="739"/>
                  </a:lnTo>
                  <a:lnTo>
                    <a:pt x="1875" y="742"/>
                  </a:lnTo>
                  <a:lnTo>
                    <a:pt x="1880" y="744"/>
                  </a:lnTo>
                  <a:lnTo>
                    <a:pt x="1882" y="745"/>
                  </a:lnTo>
                  <a:lnTo>
                    <a:pt x="1885" y="745"/>
                  </a:lnTo>
                  <a:lnTo>
                    <a:pt x="1887" y="744"/>
                  </a:lnTo>
                  <a:lnTo>
                    <a:pt x="1891" y="743"/>
                  </a:lnTo>
                  <a:lnTo>
                    <a:pt x="1891" y="739"/>
                  </a:lnTo>
                  <a:lnTo>
                    <a:pt x="1895" y="735"/>
                  </a:lnTo>
                  <a:lnTo>
                    <a:pt x="1898" y="731"/>
                  </a:lnTo>
                  <a:lnTo>
                    <a:pt x="1900" y="727"/>
                  </a:lnTo>
                  <a:lnTo>
                    <a:pt x="1902" y="725"/>
                  </a:lnTo>
                  <a:lnTo>
                    <a:pt x="1906" y="725"/>
                  </a:lnTo>
                  <a:lnTo>
                    <a:pt x="1907" y="724"/>
                  </a:lnTo>
                  <a:lnTo>
                    <a:pt x="1907" y="722"/>
                  </a:lnTo>
                  <a:lnTo>
                    <a:pt x="1908" y="719"/>
                  </a:lnTo>
                  <a:lnTo>
                    <a:pt x="1908" y="716"/>
                  </a:lnTo>
                  <a:lnTo>
                    <a:pt x="1910" y="714"/>
                  </a:lnTo>
                  <a:lnTo>
                    <a:pt x="1912" y="712"/>
                  </a:lnTo>
                  <a:lnTo>
                    <a:pt x="1915" y="711"/>
                  </a:lnTo>
                  <a:lnTo>
                    <a:pt x="1917" y="710"/>
                  </a:lnTo>
                  <a:lnTo>
                    <a:pt x="1919" y="708"/>
                  </a:lnTo>
                  <a:lnTo>
                    <a:pt x="1921" y="705"/>
                  </a:lnTo>
                  <a:lnTo>
                    <a:pt x="1921" y="702"/>
                  </a:lnTo>
                  <a:lnTo>
                    <a:pt x="1922" y="699"/>
                  </a:lnTo>
                  <a:lnTo>
                    <a:pt x="1923" y="696"/>
                  </a:lnTo>
                  <a:lnTo>
                    <a:pt x="1926" y="693"/>
                  </a:lnTo>
                  <a:lnTo>
                    <a:pt x="1931" y="690"/>
                  </a:lnTo>
                  <a:lnTo>
                    <a:pt x="1935" y="687"/>
                  </a:lnTo>
                  <a:lnTo>
                    <a:pt x="1939" y="683"/>
                  </a:lnTo>
                  <a:lnTo>
                    <a:pt x="1940" y="678"/>
                  </a:lnTo>
                  <a:lnTo>
                    <a:pt x="1942" y="671"/>
                  </a:lnTo>
                  <a:lnTo>
                    <a:pt x="1943" y="665"/>
                  </a:lnTo>
                  <a:lnTo>
                    <a:pt x="1945" y="662"/>
                  </a:lnTo>
                  <a:lnTo>
                    <a:pt x="1946" y="660"/>
                  </a:lnTo>
                  <a:lnTo>
                    <a:pt x="1949" y="659"/>
                  </a:lnTo>
                  <a:lnTo>
                    <a:pt x="1952" y="658"/>
                  </a:lnTo>
                  <a:lnTo>
                    <a:pt x="1953" y="655"/>
                  </a:lnTo>
                  <a:lnTo>
                    <a:pt x="1953" y="653"/>
                  </a:lnTo>
                  <a:lnTo>
                    <a:pt x="1953" y="651"/>
                  </a:lnTo>
                  <a:lnTo>
                    <a:pt x="1954" y="648"/>
                  </a:lnTo>
                  <a:lnTo>
                    <a:pt x="1956" y="646"/>
                  </a:lnTo>
                  <a:lnTo>
                    <a:pt x="1960" y="644"/>
                  </a:lnTo>
                  <a:lnTo>
                    <a:pt x="1963" y="641"/>
                  </a:lnTo>
                  <a:lnTo>
                    <a:pt x="1965" y="640"/>
                  </a:lnTo>
                  <a:lnTo>
                    <a:pt x="1965" y="639"/>
                  </a:lnTo>
                  <a:lnTo>
                    <a:pt x="1965" y="635"/>
                  </a:lnTo>
                  <a:lnTo>
                    <a:pt x="1965" y="633"/>
                  </a:lnTo>
                  <a:lnTo>
                    <a:pt x="1965" y="631"/>
                  </a:lnTo>
                  <a:lnTo>
                    <a:pt x="1969" y="631"/>
                  </a:lnTo>
                  <a:lnTo>
                    <a:pt x="1965" y="625"/>
                  </a:lnTo>
                  <a:lnTo>
                    <a:pt x="1968" y="621"/>
                  </a:lnTo>
                  <a:lnTo>
                    <a:pt x="1970" y="618"/>
                  </a:lnTo>
                  <a:lnTo>
                    <a:pt x="1971" y="616"/>
                  </a:lnTo>
                  <a:lnTo>
                    <a:pt x="1971" y="613"/>
                  </a:lnTo>
                  <a:lnTo>
                    <a:pt x="1969" y="608"/>
                  </a:lnTo>
                  <a:lnTo>
                    <a:pt x="1968" y="604"/>
                  </a:lnTo>
                  <a:lnTo>
                    <a:pt x="1967" y="600"/>
                  </a:lnTo>
                  <a:lnTo>
                    <a:pt x="1968" y="599"/>
                  </a:lnTo>
                  <a:lnTo>
                    <a:pt x="1969" y="598"/>
                  </a:lnTo>
                  <a:lnTo>
                    <a:pt x="1970" y="596"/>
                  </a:lnTo>
                  <a:lnTo>
                    <a:pt x="1971" y="596"/>
                  </a:lnTo>
                  <a:lnTo>
                    <a:pt x="1971" y="595"/>
                  </a:lnTo>
                  <a:lnTo>
                    <a:pt x="1970" y="591"/>
                  </a:lnTo>
                  <a:lnTo>
                    <a:pt x="1969" y="589"/>
                  </a:lnTo>
                  <a:lnTo>
                    <a:pt x="1969" y="588"/>
                  </a:lnTo>
                  <a:lnTo>
                    <a:pt x="1970" y="587"/>
                  </a:lnTo>
                  <a:lnTo>
                    <a:pt x="1972" y="586"/>
                  </a:lnTo>
                  <a:lnTo>
                    <a:pt x="1974" y="585"/>
                  </a:lnTo>
                  <a:lnTo>
                    <a:pt x="1975" y="584"/>
                  </a:lnTo>
                  <a:lnTo>
                    <a:pt x="1976" y="581"/>
                  </a:lnTo>
                  <a:lnTo>
                    <a:pt x="1977" y="578"/>
                  </a:lnTo>
                  <a:lnTo>
                    <a:pt x="1977" y="573"/>
                  </a:lnTo>
                  <a:lnTo>
                    <a:pt x="1976" y="568"/>
                  </a:lnTo>
                  <a:lnTo>
                    <a:pt x="1975" y="561"/>
                  </a:lnTo>
                  <a:lnTo>
                    <a:pt x="1980" y="561"/>
                  </a:lnTo>
                  <a:lnTo>
                    <a:pt x="1982" y="561"/>
                  </a:lnTo>
                  <a:lnTo>
                    <a:pt x="1985" y="561"/>
                  </a:lnTo>
                  <a:lnTo>
                    <a:pt x="1985" y="559"/>
                  </a:lnTo>
                  <a:lnTo>
                    <a:pt x="1981" y="558"/>
                  </a:lnTo>
                  <a:lnTo>
                    <a:pt x="1977" y="557"/>
                  </a:lnTo>
                  <a:lnTo>
                    <a:pt x="1977" y="553"/>
                  </a:lnTo>
                  <a:lnTo>
                    <a:pt x="1975" y="553"/>
                  </a:lnTo>
                  <a:lnTo>
                    <a:pt x="1975" y="555"/>
                  </a:lnTo>
                  <a:lnTo>
                    <a:pt x="1974" y="556"/>
                  </a:lnTo>
                  <a:lnTo>
                    <a:pt x="1973" y="555"/>
                  </a:lnTo>
                  <a:lnTo>
                    <a:pt x="1971" y="553"/>
                  </a:lnTo>
                  <a:lnTo>
                    <a:pt x="1969" y="551"/>
                  </a:lnTo>
                  <a:lnTo>
                    <a:pt x="1966" y="546"/>
                  </a:lnTo>
                  <a:lnTo>
                    <a:pt x="1964" y="544"/>
                  </a:lnTo>
                  <a:lnTo>
                    <a:pt x="1962" y="541"/>
                  </a:lnTo>
                  <a:lnTo>
                    <a:pt x="1960" y="539"/>
                  </a:lnTo>
                  <a:lnTo>
                    <a:pt x="1958" y="538"/>
                  </a:lnTo>
                  <a:lnTo>
                    <a:pt x="1952" y="536"/>
                  </a:lnTo>
                  <a:lnTo>
                    <a:pt x="1948" y="536"/>
                  </a:lnTo>
                  <a:lnTo>
                    <a:pt x="1946" y="536"/>
                  </a:lnTo>
                  <a:lnTo>
                    <a:pt x="1946" y="537"/>
                  </a:lnTo>
                  <a:lnTo>
                    <a:pt x="1945" y="538"/>
                  </a:lnTo>
                  <a:lnTo>
                    <a:pt x="1945" y="539"/>
                  </a:lnTo>
                  <a:lnTo>
                    <a:pt x="1945" y="541"/>
                  </a:lnTo>
                  <a:lnTo>
                    <a:pt x="1946" y="543"/>
                  </a:lnTo>
                  <a:lnTo>
                    <a:pt x="1946" y="546"/>
                  </a:lnTo>
                  <a:lnTo>
                    <a:pt x="1942" y="546"/>
                  </a:lnTo>
                  <a:lnTo>
                    <a:pt x="1943" y="544"/>
                  </a:lnTo>
                  <a:lnTo>
                    <a:pt x="1940" y="544"/>
                  </a:lnTo>
                  <a:lnTo>
                    <a:pt x="1940" y="545"/>
                  </a:lnTo>
                  <a:lnTo>
                    <a:pt x="1939" y="546"/>
                  </a:lnTo>
                  <a:lnTo>
                    <a:pt x="1938" y="548"/>
                  </a:lnTo>
                  <a:lnTo>
                    <a:pt x="1937" y="550"/>
                  </a:lnTo>
                  <a:lnTo>
                    <a:pt x="1935" y="551"/>
                  </a:lnTo>
                  <a:lnTo>
                    <a:pt x="1933" y="551"/>
                  </a:lnTo>
                  <a:lnTo>
                    <a:pt x="1932" y="551"/>
                  </a:lnTo>
                  <a:lnTo>
                    <a:pt x="1931" y="550"/>
                  </a:lnTo>
                  <a:lnTo>
                    <a:pt x="1931" y="549"/>
                  </a:lnTo>
                  <a:lnTo>
                    <a:pt x="1931" y="548"/>
                  </a:lnTo>
                  <a:lnTo>
                    <a:pt x="1933" y="548"/>
                  </a:lnTo>
                  <a:lnTo>
                    <a:pt x="1935" y="542"/>
                  </a:lnTo>
                  <a:lnTo>
                    <a:pt x="1933" y="542"/>
                  </a:lnTo>
                  <a:lnTo>
                    <a:pt x="1932" y="540"/>
                  </a:lnTo>
                  <a:lnTo>
                    <a:pt x="1931" y="538"/>
                  </a:lnTo>
                  <a:lnTo>
                    <a:pt x="1930" y="538"/>
                  </a:lnTo>
                  <a:lnTo>
                    <a:pt x="1929" y="538"/>
                  </a:lnTo>
                  <a:lnTo>
                    <a:pt x="1929" y="542"/>
                  </a:lnTo>
                  <a:lnTo>
                    <a:pt x="1928" y="542"/>
                  </a:lnTo>
                  <a:lnTo>
                    <a:pt x="1927" y="542"/>
                  </a:lnTo>
                  <a:lnTo>
                    <a:pt x="1927" y="543"/>
                  </a:lnTo>
                  <a:lnTo>
                    <a:pt x="1927" y="546"/>
                  </a:lnTo>
                  <a:lnTo>
                    <a:pt x="1923" y="546"/>
                  </a:lnTo>
                  <a:lnTo>
                    <a:pt x="1923" y="526"/>
                  </a:lnTo>
                  <a:lnTo>
                    <a:pt x="1914" y="527"/>
                  </a:lnTo>
                  <a:lnTo>
                    <a:pt x="1904" y="526"/>
                  </a:lnTo>
                  <a:lnTo>
                    <a:pt x="1905" y="524"/>
                  </a:lnTo>
                  <a:lnTo>
                    <a:pt x="1906" y="522"/>
                  </a:lnTo>
                  <a:lnTo>
                    <a:pt x="1906" y="519"/>
                  </a:lnTo>
                  <a:lnTo>
                    <a:pt x="1908" y="517"/>
                  </a:lnTo>
                  <a:lnTo>
                    <a:pt x="1931" y="496"/>
                  </a:lnTo>
                  <a:lnTo>
                    <a:pt x="1935" y="496"/>
                  </a:lnTo>
                  <a:lnTo>
                    <a:pt x="1935" y="495"/>
                  </a:lnTo>
                  <a:lnTo>
                    <a:pt x="1935" y="493"/>
                  </a:lnTo>
                  <a:lnTo>
                    <a:pt x="1934" y="491"/>
                  </a:lnTo>
                  <a:lnTo>
                    <a:pt x="1935" y="490"/>
                  </a:lnTo>
                  <a:lnTo>
                    <a:pt x="1936" y="490"/>
                  </a:lnTo>
                  <a:lnTo>
                    <a:pt x="1937" y="489"/>
                  </a:lnTo>
                  <a:lnTo>
                    <a:pt x="1939" y="489"/>
                  </a:lnTo>
                  <a:lnTo>
                    <a:pt x="1940" y="488"/>
                  </a:lnTo>
                  <a:lnTo>
                    <a:pt x="1942" y="486"/>
                  </a:lnTo>
                  <a:lnTo>
                    <a:pt x="1942" y="484"/>
                  </a:lnTo>
                  <a:lnTo>
                    <a:pt x="1943" y="480"/>
                  </a:lnTo>
                  <a:lnTo>
                    <a:pt x="1944" y="473"/>
                  </a:lnTo>
                  <a:lnTo>
                    <a:pt x="1946" y="474"/>
                  </a:lnTo>
                  <a:lnTo>
                    <a:pt x="1947" y="475"/>
                  </a:lnTo>
                  <a:lnTo>
                    <a:pt x="1948" y="475"/>
                  </a:lnTo>
                  <a:lnTo>
                    <a:pt x="1950" y="473"/>
                  </a:lnTo>
                  <a:lnTo>
                    <a:pt x="1951" y="471"/>
                  </a:lnTo>
                  <a:lnTo>
                    <a:pt x="1952" y="469"/>
                  </a:lnTo>
                  <a:lnTo>
                    <a:pt x="1954" y="467"/>
                  </a:lnTo>
                  <a:lnTo>
                    <a:pt x="1965" y="461"/>
                  </a:lnTo>
                  <a:lnTo>
                    <a:pt x="1965" y="458"/>
                  </a:lnTo>
                  <a:lnTo>
                    <a:pt x="1965" y="455"/>
                  </a:lnTo>
                  <a:lnTo>
                    <a:pt x="1967" y="455"/>
                  </a:lnTo>
                  <a:lnTo>
                    <a:pt x="1969" y="456"/>
                  </a:lnTo>
                  <a:lnTo>
                    <a:pt x="1972" y="456"/>
                  </a:lnTo>
                  <a:lnTo>
                    <a:pt x="1973" y="455"/>
                  </a:lnTo>
                  <a:lnTo>
                    <a:pt x="1974" y="453"/>
                  </a:lnTo>
                  <a:lnTo>
                    <a:pt x="1974" y="450"/>
                  </a:lnTo>
                  <a:lnTo>
                    <a:pt x="1974" y="447"/>
                  </a:lnTo>
                  <a:lnTo>
                    <a:pt x="1975" y="444"/>
                  </a:lnTo>
                  <a:lnTo>
                    <a:pt x="1976" y="442"/>
                  </a:lnTo>
                  <a:lnTo>
                    <a:pt x="1978" y="439"/>
                  </a:lnTo>
                  <a:lnTo>
                    <a:pt x="1984" y="434"/>
                  </a:lnTo>
                  <a:lnTo>
                    <a:pt x="1990" y="428"/>
                  </a:lnTo>
                  <a:lnTo>
                    <a:pt x="1994" y="425"/>
                  </a:lnTo>
                  <a:lnTo>
                    <a:pt x="1994" y="423"/>
                  </a:lnTo>
                  <a:lnTo>
                    <a:pt x="1997" y="423"/>
                  </a:lnTo>
                  <a:lnTo>
                    <a:pt x="2000" y="423"/>
                  </a:lnTo>
                  <a:lnTo>
                    <a:pt x="2000" y="422"/>
                  </a:lnTo>
                  <a:lnTo>
                    <a:pt x="2000" y="420"/>
                  </a:lnTo>
                  <a:lnTo>
                    <a:pt x="2000" y="418"/>
                  </a:lnTo>
                  <a:lnTo>
                    <a:pt x="2000" y="417"/>
                  </a:lnTo>
                  <a:lnTo>
                    <a:pt x="2002" y="417"/>
                  </a:lnTo>
                  <a:lnTo>
                    <a:pt x="2003" y="417"/>
                  </a:lnTo>
                  <a:lnTo>
                    <a:pt x="2005" y="419"/>
                  </a:lnTo>
                  <a:lnTo>
                    <a:pt x="2008" y="423"/>
                  </a:lnTo>
                  <a:lnTo>
                    <a:pt x="2014" y="423"/>
                  </a:lnTo>
                  <a:lnTo>
                    <a:pt x="2023" y="423"/>
                  </a:lnTo>
                  <a:lnTo>
                    <a:pt x="2033" y="423"/>
                  </a:lnTo>
                  <a:lnTo>
                    <a:pt x="2040" y="423"/>
                  </a:lnTo>
                  <a:lnTo>
                    <a:pt x="2039" y="423"/>
                  </a:lnTo>
                  <a:lnTo>
                    <a:pt x="2039" y="424"/>
                  </a:lnTo>
                  <a:lnTo>
                    <a:pt x="2039" y="427"/>
                  </a:lnTo>
                  <a:lnTo>
                    <a:pt x="2040" y="430"/>
                  </a:lnTo>
                  <a:lnTo>
                    <a:pt x="2042" y="430"/>
                  </a:lnTo>
                  <a:lnTo>
                    <a:pt x="2043" y="429"/>
                  </a:lnTo>
                  <a:lnTo>
                    <a:pt x="2045" y="429"/>
                  </a:lnTo>
                  <a:lnTo>
                    <a:pt x="2046" y="429"/>
                  </a:lnTo>
                  <a:lnTo>
                    <a:pt x="2047" y="427"/>
                  </a:lnTo>
                  <a:lnTo>
                    <a:pt x="2047" y="426"/>
                  </a:lnTo>
                  <a:lnTo>
                    <a:pt x="2047" y="424"/>
                  </a:lnTo>
                  <a:lnTo>
                    <a:pt x="2048" y="423"/>
                  </a:lnTo>
                  <a:lnTo>
                    <a:pt x="2050" y="424"/>
                  </a:lnTo>
                  <a:lnTo>
                    <a:pt x="2052" y="426"/>
                  </a:lnTo>
                  <a:lnTo>
                    <a:pt x="2054" y="428"/>
                  </a:lnTo>
                  <a:lnTo>
                    <a:pt x="2056" y="429"/>
                  </a:lnTo>
                  <a:lnTo>
                    <a:pt x="2058" y="429"/>
                  </a:lnTo>
                  <a:lnTo>
                    <a:pt x="2060" y="429"/>
                  </a:lnTo>
                  <a:lnTo>
                    <a:pt x="2064" y="428"/>
                  </a:lnTo>
                  <a:lnTo>
                    <a:pt x="2071" y="427"/>
                  </a:lnTo>
                  <a:lnTo>
                    <a:pt x="2072" y="427"/>
                  </a:lnTo>
                  <a:lnTo>
                    <a:pt x="2072" y="428"/>
                  </a:lnTo>
                  <a:lnTo>
                    <a:pt x="2073" y="429"/>
                  </a:lnTo>
                  <a:lnTo>
                    <a:pt x="2074" y="430"/>
                  </a:lnTo>
                  <a:lnTo>
                    <a:pt x="2075" y="431"/>
                  </a:lnTo>
                  <a:lnTo>
                    <a:pt x="2077" y="431"/>
                  </a:lnTo>
                  <a:lnTo>
                    <a:pt x="2079" y="430"/>
                  </a:lnTo>
                  <a:lnTo>
                    <a:pt x="2079" y="417"/>
                  </a:lnTo>
                  <a:lnTo>
                    <a:pt x="2082" y="418"/>
                  </a:lnTo>
                  <a:lnTo>
                    <a:pt x="2085" y="418"/>
                  </a:lnTo>
                  <a:lnTo>
                    <a:pt x="2090" y="418"/>
                  </a:lnTo>
                  <a:lnTo>
                    <a:pt x="2095" y="418"/>
                  </a:lnTo>
                  <a:lnTo>
                    <a:pt x="2100" y="419"/>
                  </a:lnTo>
                  <a:lnTo>
                    <a:pt x="2100" y="420"/>
                  </a:lnTo>
                  <a:lnTo>
                    <a:pt x="2100" y="421"/>
                  </a:lnTo>
                  <a:lnTo>
                    <a:pt x="2100" y="422"/>
                  </a:lnTo>
                  <a:lnTo>
                    <a:pt x="2101" y="423"/>
                  </a:lnTo>
                  <a:lnTo>
                    <a:pt x="2104" y="423"/>
                  </a:lnTo>
                  <a:lnTo>
                    <a:pt x="2104" y="419"/>
                  </a:lnTo>
                  <a:lnTo>
                    <a:pt x="2108" y="418"/>
                  </a:lnTo>
                  <a:lnTo>
                    <a:pt x="2111" y="417"/>
                  </a:lnTo>
                  <a:lnTo>
                    <a:pt x="2113" y="419"/>
                  </a:lnTo>
                  <a:lnTo>
                    <a:pt x="2113" y="422"/>
                  </a:lnTo>
                  <a:lnTo>
                    <a:pt x="2115" y="427"/>
                  </a:lnTo>
                  <a:lnTo>
                    <a:pt x="2118" y="426"/>
                  </a:lnTo>
                  <a:lnTo>
                    <a:pt x="2118" y="427"/>
                  </a:lnTo>
                  <a:lnTo>
                    <a:pt x="2118" y="428"/>
                  </a:lnTo>
                  <a:lnTo>
                    <a:pt x="2118" y="429"/>
                  </a:lnTo>
                  <a:lnTo>
                    <a:pt x="2118" y="430"/>
                  </a:lnTo>
                  <a:lnTo>
                    <a:pt x="2119" y="430"/>
                  </a:lnTo>
                  <a:lnTo>
                    <a:pt x="2112" y="430"/>
                  </a:lnTo>
                  <a:lnTo>
                    <a:pt x="2106" y="430"/>
                  </a:lnTo>
                  <a:lnTo>
                    <a:pt x="2107" y="440"/>
                  </a:lnTo>
                  <a:lnTo>
                    <a:pt x="2114" y="440"/>
                  </a:lnTo>
                  <a:lnTo>
                    <a:pt x="2121" y="440"/>
                  </a:lnTo>
                  <a:lnTo>
                    <a:pt x="2120" y="440"/>
                  </a:lnTo>
                  <a:lnTo>
                    <a:pt x="2120" y="439"/>
                  </a:lnTo>
                  <a:lnTo>
                    <a:pt x="2121" y="437"/>
                  </a:lnTo>
                  <a:lnTo>
                    <a:pt x="2123" y="434"/>
                  </a:lnTo>
                  <a:lnTo>
                    <a:pt x="2125" y="436"/>
                  </a:lnTo>
                  <a:lnTo>
                    <a:pt x="2127" y="438"/>
                  </a:lnTo>
                  <a:lnTo>
                    <a:pt x="2129" y="438"/>
                  </a:lnTo>
                  <a:lnTo>
                    <a:pt x="2129" y="437"/>
                  </a:lnTo>
                  <a:lnTo>
                    <a:pt x="2129" y="435"/>
                  </a:lnTo>
                  <a:lnTo>
                    <a:pt x="2128" y="434"/>
                  </a:lnTo>
                  <a:lnTo>
                    <a:pt x="2129" y="432"/>
                  </a:lnTo>
                  <a:lnTo>
                    <a:pt x="2132" y="432"/>
                  </a:lnTo>
                  <a:lnTo>
                    <a:pt x="2134" y="427"/>
                  </a:lnTo>
                  <a:lnTo>
                    <a:pt x="2139" y="427"/>
                  </a:lnTo>
                  <a:lnTo>
                    <a:pt x="2142" y="427"/>
                  </a:lnTo>
                  <a:lnTo>
                    <a:pt x="2146" y="426"/>
                  </a:lnTo>
                  <a:lnTo>
                    <a:pt x="2152" y="427"/>
                  </a:lnTo>
                  <a:lnTo>
                    <a:pt x="2151" y="426"/>
                  </a:lnTo>
                  <a:lnTo>
                    <a:pt x="2152" y="425"/>
                  </a:lnTo>
                  <a:lnTo>
                    <a:pt x="2155" y="425"/>
                  </a:lnTo>
                  <a:lnTo>
                    <a:pt x="2153" y="419"/>
                  </a:lnTo>
                  <a:lnTo>
                    <a:pt x="2150" y="419"/>
                  </a:lnTo>
                  <a:lnTo>
                    <a:pt x="2146" y="419"/>
                  </a:lnTo>
                  <a:lnTo>
                    <a:pt x="2146" y="421"/>
                  </a:lnTo>
                  <a:lnTo>
                    <a:pt x="2145" y="421"/>
                  </a:lnTo>
                  <a:lnTo>
                    <a:pt x="2144" y="421"/>
                  </a:lnTo>
                  <a:lnTo>
                    <a:pt x="2142" y="421"/>
                  </a:lnTo>
                  <a:lnTo>
                    <a:pt x="2142" y="414"/>
                  </a:lnTo>
                  <a:lnTo>
                    <a:pt x="2142" y="407"/>
                  </a:lnTo>
                  <a:lnTo>
                    <a:pt x="2144" y="409"/>
                  </a:lnTo>
                  <a:lnTo>
                    <a:pt x="2145" y="409"/>
                  </a:lnTo>
                  <a:lnTo>
                    <a:pt x="2146" y="409"/>
                  </a:lnTo>
                  <a:lnTo>
                    <a:pt x="2146" y="407"/>
                  </a:lnTo>
                  <a:lnTo>
                    <a:pt x="2146" y="404"/>
                  </a:lnTo>
                  <a:lnTo>
                    <a:pt x="2147" y="402"/>
                  </a:lnTo>
                  <a:lnTo>
                    <a:pt x="2147" y="401"/>
                  </a:lnTo>
                  <a:lnTo>
                    <a:pt x="2148" y="400"/>
                  </a:lnTo>
                  <a:lnTo>
                    <a:pt x="2150" y="398"/>
                  </a:lnTo>
                  <a:lnTo>
                    <a:pt x="2152" y="397"/>
                  </a:lnTo>
                  <a:lnTo>
                    <a:pt x="2157" y="395"/>
                  </a:lnTo>
                  <a:lnTo>
                    <a:pt x="2162" y="393"/>
                  </a:lnTo>
                  <a:lnTo>
                    <a:pt x="2165" y="392"/>
                  </a:lnTo>
                  <a:lnTo>
                    <a:pt x="2167" y="390"/>
                  </a:lnTo>
                  <a:lnTo>
                    <a:pt x="2167" y="389"/>
                  </a:lnTo>
                  <a:lnTo>
                    <a:pt x="2167" y="387"/>
                  </a:lnTo>
                  <a:lnTo>
                    <a:pt x="2167" y="386"/>
                  </a:lnTo>
                  <a:lnTo>
                    <a:pt x="2167" y="384"/>
                  </a:lnTo>
                  <a:lnTo>
                    <a:pt x="2169" y="384"/>
                  </a:lnTo>
                  <a:lnTo>
                    <a:pt x="2171" y="383"/>
                  </a:lnTo>
                  <a:lnTo>
                    <a:pt x="2173" y="380"/>
                  </a:lnTo>
                  <a:lnTo>
                    <a:pt x="2175" y="377"/>
                  </a:lnTo>
                  <a:lnTo>
                    <a:pt x="2177" y="375"/>
                  </a:lnTo>
                  <a:lnTo>
                    <a:pt x="2179" y="375"/>
                  </a:lnTo>
                  <a:lnTo>
                    <a:pt x="2183" y="374"/>
                  </a:lnTo>
                  <a:lnTo>
                    <a:pt x="2188" y="374"/>
                  </a:lnTo>
                  <a:lnTo>
                    <a:pt x="2194" y="373"/>
                  </a:lnTo>
                  <a:lnTo>
                    <a:pt x="2199" y="370"/>
                  </a:lnTo>
                  <a:lnTo>
                    <a:pt x="2202" y="369"/>
                  </a:lnTo>
                  <a:lnTo>
                    <a:pt x="2205" y="369"/>
                  </a:lnTo>
                  <a:lnTo>
                    <a:pt x="2207" y="375"/>
                  </a:lnTo>
                  <a:lnTo>
                    <a:pt x="2208" y="375"/>
                  </a:lnTo>
                  <a:lnTo>
                    <a:pt x="2210" y="376"/>
                  </a:lnTo>
                  <a:lnTo>
                    <a:pt x="2213" y="377"/>
                  </a:lnTo>
                  <a:lnTo>
                    <a:pt x="2213" y="375"/>
                  </a:lnTo>
                  <a:lnTo>
                    <a:pt x="2217" y="373"/>
                  </a:lnTo>
                  <a:lnTo>
                    <a:pt x="2221" y="371"/>
                  </a:lnTo>
                  <a:lnTo>
                    <a:pt x="2219" y="376"/>
                  </a:lnTo>
                  <a:lnTo>
                    <a:pt x="2218" y="380"/>
                  </a:lnTo>
                  <a:lnTo>
                    <a:pt x="2216" y="384"/>
                  </a:lnTo>
                  <a:lnTo>
                    <a:pt x="2215" y="385"/>
                  </a:lnTo>
                  <a:lnTo>
                    <a:pt x="2213" y="386"/>
                  </a:lnTo>
                  <a:lnTo>
                    <a:pt x="2212" y="387"/>
                  </a:lnTo>
                  <a:lnTo>
                    <a:pt x="2213" y="387"/>
                  </a:lnTo>
                  <a:lnTo>
                    <a:pt x="2213" y="388"/>
                  </a:lnTo>
                  <a:lnTo>
                    <a:pt x="2215" y="389"/>
                  </a:lnTo>
                  <a:lnTo>
                    <a:pt x="2215" y="390"/>
                  </a:lnTo>
                  <a:lnTo>
                    <a:pt x="2218" y="389"/>
                  </a:lnTo>
                  <a:lnTo>
                    <a:pt x="2220" y="388"/>
                  </a:lnTo>
                  <a:lnTo>
                    <a:pt x="2221" y="388"/>
                  </a:lnTo>
                  <a:lnTo>
                    <a:pt x="2220" y="390"/>
                  </a:lnTo>
                  <a:lnTo>
                    <a:pt x="2219" y="392"/>
                  </a:lnTo>
                  <a:lnTo>
                    <a:pt x="2219" y="398"/>
                  </a:lnTo>
                  <a:lnTo>
                    <a:pt x="2225" y="392"/>
                  </a:lnTo>
                  <a:lnTo>
                    <a:pt x="2227" y="390"/>
                  </a:lnTo>
                  <a:lnTo>
                    <a:pt x="2229" y="388"/>
                  </a:lnTo>
                  <a:lnTo>
                    <a:pt x="2234" y="382"/>
                  </a:lnTo>
                  <a:lnTo>
                    <a:pt x="2238" y="378"/>
                  </a:lnTo>
                  <a:lnTo>
                    <a:pt x="2240" y="376"/>
                  </a:lnTo>
                  <a:lnTo>
                    <a:pt x="2242" y="375"/>
                  </a:lnTo>
                  <a:lnTo>
                    <a:pt x="2245" y="374"/>
                  </a:lnTo>
                  <a:lnTo>
                    <a:pt x="2248" y="373"/>
                  </a:lnTo>
                  <a:lnTo>
                    <a:pt x="2250" y="374"/>
                  </a:lnTo>
                  <a:lnTo>
                    <a:pt x="2252" y="374"/>
                  </a:lnTo>
                  <a:lnTo>
                    <a:pt x="2254" y="376"/>
                  </a:lnTo>
                  <a:lnTo>
                    <a:pt x="2253" y="377"/>
                  </a:lnTo>
                  <a:lnTo>
                    <a:pt x="2256" y="375"/>
                  </a:lnTo>
                  <a:lnTo>
                    <a:pt x="2257" y="375"/>
                  </a:lnTo>
                  <a:lnTo>
                    <a:pt x="2259" y="375"/>
                  </a:lnTo>
                  <a:lnTo>
                    <a:pt x="2257" y="370"/>
                  </a:lnTo>
                  <a:lnTo>
                    <a:pt x="2257" y="367"/>
                  </a:lnTo>
                  <a:lnTo>
                    <a:pt x="2257" y="366"/>
                  </a:lnTo>
                  <a:lnTo>
                    <a:pt x="2257" y="365"/>
                  </a:lnTo>
                  <a:lnTo>
                    <a:pt x="2256" y="366"/>
                  </a:lnTo>
                  <a:lnTo>
                    <a:pt x="2255" y="365"/>
                  </a:lnTo>
                  <a:lnTo>
                    <a:pt x="2255" y="361"/>
                  </a:lnTo>
                  <a:lnTo>
                    <a:pt x="2264" y="355"/>
                  </a:lnTo>
                  <a:lnTo>
                    <a:pt x="2266" y="353"/>
                  </a:lnTo>
                  <a:lnTo>
                    <a:pt x="2268" y="353"/>
                  </a:lnTo>
                  <a:lnTo>
                    <a:pt x="2270" y="353"/>
                  </a:lnTo>
                  <a:lnTo>
                    <a:pt x="2272" y="354"/>
                  </a:lnTo>
                  <a:lnTo>
                    <a:pt x="2282" y="358"/>
                  </a:lnTo>
                  <a:lnTo>
                    <a:pt x="2282" y="359"/>
                  </a:lnTo>
                  <a:lnTo>
                    <a:pt x="2276" y="359"/>
                  </a:lnTo>
                  <a:lnTo>
                    <a:pt x="2277" y="359"/>
                  </a:lnTo>
                  <a:lnTo>
                    <a:pt x="2277" y="358"/>
                  </a:lnTo>
                  <a:lnTo>
                    <a:pt x="2275" y="358"/>
                  </a:lnTo>
                  <a:lnTo>
                    <a:pt x="2271" y="358"/>
                  </a:lnTo>
                  <a:lnTo>
                    <a:pt x="2270" y="360"/>
                  </a:lnTo>
                  <a:lnTo>
                    <a:pt x="2269" y="361"/>
                  </a:lnTo>
                  <a:lnTo>
                    <a:pt x="2267" y="361"/>
                  </a:lnTo>
                  <a:lnTo>
                    <a:pt x="2266" y="372"/>
                  </a:lnTo>
                  <a:lnTo>
                    <a:pt x="2265" y="381"/>
                  </a:lnTo>
                  <a:lnTo>
                    <a:pt x="2263" y="386"/>
                  </a:lnTo>
                  <a:lnTo>
                    <a:pt x="2262" y="390"/>
                  </a:lnTo>
                  <a:lnTo>
                    <a:pt x="2260" y="392"/>
                  </a:lnTo>
                  <a:lnTo>
                    <a:pt x="2257" y="393"/>
                  </a:lnTo>
                  <a:lnTo>
                    <a:pt x="2253" y="394"/>
                  </a:lnTo>
                  <a:lnTo>
                    <a:pt x="2249" y="394"/>
                  </a:lnTo>
                  <a:lnTo>
                    <a:pt x="2244" y="395"/>
                  </a:lnTo>
                  <a:lnTo>
                    <a:pt x="2238" y="396"/>
                  </a:lnTo>
                  <a:lnTo>
                    <a:pt x="2238" y="398"/>
                  </a:lnTo>
                  <a:lnTo>
                    <a:pt x="2238" y="400"/>
                  </a:lnTo>
                  <a:lnTo>
                    <a:pt x="2239" y="402"/>
                  </a:lnTo>
                  <a:lnTo>
                    <a:pt x="2238" y="406"/>
                  </a:lnTo>
                  <a:lnTo>
                    <a:pt x="2237" y="406"/>
                  </a:lnTo>
                  <a:lnTo>
                    <a:pt x="2235" y="407"/>
                  </a:lnTo>
                  <a:lnTo>
                    <a:pt x="2233" y="407"/>
                  </a:lnTo>
                  <a:lnTo>
                    <a:pt x="2232" y="407"/>
                  </a:lnTo>
                  <a:lnTo>
                    <a:pt x="2232" y="409"/>
                  </a:lnTo>
                  <a:lnTo>
                    <a:pt x="2232" y="410"/>
                  </a:lnTo>
                  <a:lnTo>
                    <a:pt x="2232" y="412"/>
                  </a:lnTo>
                  <a:lnTo>
                    <a:pt x="2232" y="413"/>
                  </a:lnTo>
                  <a:lnTo>
                    <a:pt x="2229" y="416"/>
                  </a:lnTo>
                  <a:lnTo>
                    <a:pt x="2224" y="420"/>
                  </a:lnTo>
                  <a:lnTo>
                    <a:pt x="2218" y="424"/>
                  </a:lnTo>
                  <a:lnTo>
                    <a:pt x="2215" y="427"/>
                  </a:lnTo>
                  <a:lnTo>
                    <a:pt x="2213" y="430"/>
                  </a:lnTo>
                  <a:lnTo>
                    <a:pt x="2210" y="433"/>
                  </a:lnTo>
                  <a:lnTo>
                    <a:pt x="2207" y="439"/>
                  </a:lnTo>
                  <a:lnTo>
                    <a:pt x="2204" y="442"/>
                  </a:lnTo>
                  <a:lnTo>
                    <a:pt x="2202" y="445"/>
                  </a:lnTo>
                  <a:lnTo>
                    <a:pt x="2199" y="448"/>
                  </a:lnTo>
                  <a:lnTo>
                    <a:pt x="2196" y="450"/>
                  </a:lnTo>
                  <a:lnTo>
                    <a:pt x="2196" y="452"/>
                  </a:lnTo>
                  <a:lnTo>
                    <a:pt x="2195" y="452"/>
                  </a:lnTo>
                  <a:lnTo>
                    <a:pt x="2194" y="452"/>
                  </a:lnTo>
                  <a:lnTo>
                    <a:pt x="2193" y="452"/>
                  </a:lnTo>
                  <a:lnTo>
                    <a:pt x="2192" y="451"/>
                  </a:lnTo>
                  <a:lnTo>
                    <a:pt x="2191" y="450"/>
                  </a:lnTo>
                  <a:lnTo>
                    <a:pt x="2190" y="450"/>
                  </a:lnTo>
                  <a:lnTo>
                    <a:pt x="2189" y="451"/>
                  </a:lnTo>
                  <a:lnTo>
                    <a:pt x="2188" y="452"/>
                  </a:lnTo>
                  <a:lnTo>
                    <a:pt x="2187" y="454"/>
                  </a:lnTo>
                  <a:lnTo>
                    <a:pt x="2186" y="455"/>
                  </a:lnTo>
                  <a:lnTo>
                    <a:pt x="2183" y="456"/>
                  </a:lnTo>
                  <a:lnTo>
                    <a:pt x="2180" y="456"/>
                  </a:lnTo>
                  <a:lnTo>
                    <a:pt x="2177" y="455"/>
                  </a:lnTo>
                  <a:lnTo>
                    <a:pt x="2175" y="455"/>
                  </a:lnTo>
                  <a:lnTo>
                    <a:pt x="2175" y="459"/>
                  </a:lnTo>
                  <a:lnTo>
                    <a:pt x="2176" y="459"/>
                  </a:lnTo>
                  <a:lnTo>
                    <a:pt x="2178" y="459"/>
                  </a:lnTo>
                  <a:lnTo>
                    <a:pt x="2177" y="464"/>
                  </a:lnTo>
                  <a:lnTo>
                    <a:pt x="2176" y="469"/>
                  </a:lnTo>
                  <a:lnTo>
                    <a:pt x="2176" y="471"/>
                  </a:lnTo>
                  <a:lnTo>
                    <a:pt x="2175" y="472"/>
                  </a:lnTo>
                  <a:lnTo>
                    <a:pt x="2173" y="474"/>
                  </a:lnTo>
                  <a:lnTo>
                    <a:pt x="2171" y="475"/>
                  </a:lnTo>
                  <a:lnTo>
                    <a:pt x="2169" y="475"/>
                  </a:lnTo>
                  <a:lnTo>
                    <a:pt x="2167" y="475"/>
                  </a:lnTo>
                  <a:lnTo>
                    <a:pt x="2166" y="476"/>
                  </a:lnTo>
                  <a:lnTo>
                    <a:pt x="2165" y="477"/>
                  </a:lnTo>
                  <a:lnTo>
                    <a:pt x="2163" y="481"/>
                  </a:lnTo>
                  <a:lnTo>
                    <a:pt x="2162" y="487"/>
                  </a:lnTo>
                  <a:lnTo>
                    <a:pt x="2161" y="490"/>
                  </a:lnTo>
                  <a:lnTo>
                    <a:pt x="2161" y="493"/>
                  </a:lnTo>
                  <a:lnTo>
                    <a:pt x="2160" y="500"/>
                  </a:lnTo>
                  <a:lnTo>
                    <a:pt x="2161" y="515"/>
                  </a:lnTo>
                  <a:lnTo>
                    <a:pt x="2163" y="532"/>
                  </a:lnTo>
                  <a:lnTo>
                    <a:pt x="2166" y="549"/>
                  </a:lnTo>
                  <a:lnTo>
                    <a:pt x="2170" y="565"/>
                  </a:lnTo>
                  <a:lnTo>
                    <a:pt x="2175" y="592"/>
                  </a:lnTo>
                  <a:lnTo>
                    <a:pt x="2179" y="588"/>
                  </a:lnTo>
                  <a:lnTo>
                    <a:pt x="2186" y="583"/>
                  </a:lnTo>
                  <a:lnTo>
                    <a:pt x="2192" y="578"/>
                  </a:lnTo>
                  <a:lnTo>
                    <a:pt x="2195" y="576"/>
                  </a:lnTo>
                  <a:lnTo>
                    <a:pt x="2196" y="574"/>
                  </a:lnTo>
                  <a:lnTo>
                    <a:pt x="2197" y="568"/>
                  </a:lnTo>
                  <a:lnTo>
                    <a:pt x="2198" y="564"/>
                  </a:lnTo>
                  <a:lnTo>
                    <a:pt x="2197" y="561"/>
                  </a:lnTo>
                  <a:lnTo>
                    <a:pt x="2197" y="559"/>
                  </a:lnTo>
                  <a:lnTo>
                    <a:pt x="2198" y="558"/>
                  </a:lnTo>
                  <a:lnTo>
                    <a:pt x="2200" y="557"/>
                  </a:lnTo>
                  <a:lnTo>
                    <a:pt x="2211" y="553"/>
                  </a:lnTo>
                  <a:lnTo>
                    <a:pt x="2210" y="547"/>
                  </a:lnTo>
                  <a:lnTo>
                    <a:pt x="2210" y="541"/>
                  </a:lnTo>
                  <a:lnTo>
                    <a:pt x="2210" y="539"/>
                  </a:lnTo>
                  <a:lnTo>
                    <a:pt x="2211" y="537"/>
                  </a:lnTo>
                  <a:lnTo>
                    <a:pt x="2213" y="534"/>
                  </a:lnTo>
                  <a:lnTo>
                    <a:pt x="2215" y="532"/>
                  </a:lnTo>
                  <a:lnTo>
                    <a:pt x="2219" y="530"/>
                  </a:lnTo>
                  <a:lnTo>
                    <a:pt x="2219" y="526"/>
                  </a:lnTo>
                  <a:lnTo>
                    <a:pt x="2222" y="525"/>
                  </a:lnTo>
                  <a:lnTo>
                    <a:pt x="2225" y="524"/>
                  </a:lnTo>
                  <a:lnTo>
                    <a:pt x="2227" y="524"/>
                  </a:lnTo>
                  <a:lnTo>
                    <a:pt x="2228" y="524"/>
                  </a:lnTo>
                  <a:lnTo>
                    <a:pt x="2231" y="526"/>
                  </a:lnTo>
                  <a:lnTo>
                    <a:pt x="2233" y="526"/>
                  </a:lnTo>
                  <a:lnTo>
                    <a:pt x="2234" y="526"/>
                  </a:lnTo>
                  <a:lnTo>
                    <a:pt x="2238" y="523"/>
                  </a:lnTo>
                  <a:lnTo>
                    <a:pt x="2242" y="519"/>
                  </a:lnTo>
                  <a:lnTo>
                    <a:pt x="2239" y="516"/>
                  </a:lnTo>
                  <a:lnTo>
                    <a:pt x="2238" y="512"/>
                  </a:lnTo>
                  <a:lnTo>
                    <a:pt x="2235" y="507"/>
                  </a:lnTo>
                  <a:lnTo>
                    <a:pt x="2234" y="502"/>
                  </a:lnTo>
                  <a:lnTo>
                    <a:pt x="2235" y="499"/>
                  </a:lnTo>
                  <a:lnTo>
                    <a:pt x="2235" y="497"/>
                  </a:lnTo>
                  <a:lnTo>
                    <a:pt x="2238" y="493"/>
                  </a:lnTo>
                  <a:lnTo>
                    <a:pt x="2240" y="492"/>
                  </a:lnTo>
                  <a:lnTo>
                    <a:pt x="2242" y="491"/>
                  </a:lnTo>
                  <a:lnTo>
                    <a:pt x="2245" y="490"/>
                  </a:lnTo>
                  <a:lnTo>
                    <a:pt x="2248" y="489"/>
                  </a:lnTo>
                  <a:lnTo>
                    <a:pt x="2251" y="488"/>
                  </a:lnTo>
                  <a:lnTo>
                    <a:pt x="2255" y="488"/>
                  </a:lnTo>
                  <a:lnTo>
                    <a:pt x="2255" y="480"/>
                  </a:lnTo>
                  <a:lnTo>
                    <a:pt x="2253" y="480"/>
                  </a:lnTo>
                  <a:lnTo>
                    <a:pt x="2251" y="481"/>
                  </a:lnTo>
                  <a:lnTo>
                    <a:pt x="2248" y="482"/>
                  </a:lnTo>
                  <a:lnTo>
                    <a:pt x="2246" y="479"/>
                  </a:lnTo>
                  <a:lnTo>
                    <a:pt x="2245" y="476"/>
                  </a:lnTo>
                  <a:lnTo>
                    <a:pt x="2244" y="473"/>
                  </a:lnTo>
                  <a:lnTo>
                    <a:pt x="2244" y="469"/>
                  </a:lnTo>
                  <a:lnTo>
                    <a:pt x="2246" y="469"/>
                  </a:lnTo>
                  <a:lnTo>
                    <a:pt x="2248" y="463"/>
                  </a:lnTo>
                  <a:lnTo>
                    <a:pt x="2251" y="463"/>
                  </a:lnTo>
                  <a:lnTo>
                    <a:pt x="2252" y="462"/>
                  </a:lnTo>
                  <a:lnTo>
                    <a:pt x="2251" y="460"/>
                  </a:lnTo>
                  <a:lnTo>
                    <a:pt x="2251" y="459"/>
                  </a:lnTo>
                  <a:lnTo>
                    <a:pt x="2251" y="458"/>
                  </a:lnTo>
                  <a:lnTo>
                    <a:pt x="2251" y="457"/>
                  </a:lnTo>
                  <a:lnTo>
                    <a:pt x="2253" y="457"/>
                  </a:lnTo>
                  <a:lnTo>
                    <a:pt x="2253" y="456"/>
                  </a:lnTo>
                  <a:lnTo>
                    <a:pt x="2253" y="454"/>
                  </a:lnTo>
                  <a:lnTo>
                    <a:pt x="2250" y="454"/>
                  </a:lnTo>
                  <a:lnTo>
                    <a:pt x="2248" y="454"/>
                  </a:lnTo>
                  <a:lnTo>
                    <a:pt x="2244" y="452"/>
                  </a:lnTo>
                  <a:lnTo>
                    <a:pt x="2240" y="452"/>
                  </a:lnTo>
                  <a:lnTo>
                    <a:pt x="2239" y="445"/>
                  </a:lnTo>
                  <a:lnTo>
                    <a:pt x="2239" y="441"/>
                  </a:lnTo>
                  <a:lnTo>
                    <a:pt x="2240" y="438"/>
                  </a:lnTo>
                  <a:lnTo>
                    <a:pt x="2253" y="427"/>
                  </a:lnTo>
                  <a:lnTo>
                    <a:pt x="2254" y="425"/>
                  </a:lnTo>
                  <a:lnTo>
                    <a:pt x="2253" y="424"/>
                  </a:lnTo>
                  <a:lnTo>
                    <a:pt x="2253" y="422"/>
                  </a:lnTo>
                  <a:lnTo>
                    <a:pt x="2253" y="421"/>
                  </a:lnTo>
                  <a:lnTo>
                    <a:pt x="2257" y="421"/>
                  </a:lnTo>
                  <a:lnTo>
                    <a:pt x="2257" y="419"/>
                  </a:lnTo>
                  <a:lnTo>
                    <a:pt x="2256" y="417"/>
                  </a:lnTo>
                  <a:lnTo>
                    <a:pt x="2255" y="417"/>
                  </a:lnTo>
                  <a:lnTo>
                    <a:pt x="2255" y="415"/>
                  </a:lnTo>
                  <a:lnTo>
                    <a:pt x="2256" y="414"/>
                  </a:lnTo>
                  <a:lnTo>
                    <a:pt x="2257" y="413"/>
                  </a:lnTo>
                  <a:lnTo>
                    <a:pt x="2258" y="411"/>
                  </a:lnTo>
                  <a:lnTo>
                    <a:pt x="2259" y="409"/>
                  </a:lnTo>
                  <a:lnTo>
                    <a:pt x="2278" y="411"/>
                  </a:lnTo>
                  <a:lnTo>
                    <a:pt x="2278" y="409"/>
                  </a:lnTo>
                  <a:lnTo>
                    <a:pt x="2278" y="406"/>
                  </a:lnTo>
                  <a:lnTo>
                    <a:pt x="2292" y="398"/>
                  </a:lnTo>
                  <a:lnTo>
                    <a:pt x="2290" y="407"/>
                  </a:lnTo>
                  <a:lnTo>
                    <a:pt x="2290" y="410"/>
                  </a:lnTo>
                  <a:lnTo>
                    <a:pt x="2290" y="412"/>
                  </a:lnTo>
                  <a:lnTo>
                    <a:pt x="2291" y="413"/>
                  </a:lnTo>
                  <a:lnTo>
                    <a:pt x="2294" y="413"/>
                  </a:lnTo>
                  <a:lnTo>
                    <a:pt x="2295" y="412"/>
                  </a:lnTo>
                  <a:lnTo>
                    <a:pt x="2296" y="411"/>
                  </a:lnTo>
                  <a:lnTo>
                    <a:pt x="2297" y="411"/>
                  </a:lnTo>
                  <a:lnTo>
                    <a:pt x="2299" y="408"/>
                  </a:lnTo>
                  <a:lnTo>
                    <a:pt x="2301" y="404"/>
                  </a:lnTo>
                  <a:lnTo>
                    <a:pt x="2303" y="401"/>
                  </a:lnTo>
                  <a:lnTo>
                    <a:pt x="2305" y="398"/>
                  </a:lnTo>
                  <a:lnTo>
                    <a:pt x="2309" y="395"/>
                  </a:lnTo>
                  <a:lnTo>
                    <a:pt x="2312" y="394"/>
                  </a:lnTo>
                  <a:lnTo>
                    <a:pt x="2315" y="393"/>
                  </a:lnTo>
                  <a:lnTo>
                    <a:pt x="2318" y="394"/>
                  </a:lnTo>
                  <a:lnTo>
                    <a:pt x="2322" y="395"/>
                  </a:lnTo>
                  <a:lnTo>
                    <a:pt x="2325" y="396"/>
                  </a:lnTo>
                  <a:lnTo>
                    <a:pt x="2332" y="400"/>
                  </a:lnTo>
                  <a:lnTo>
                    <a:pt x="2332" y="403"/>
                  </a:lnTo>
                  <a:lnTo>
                    <a:pt x="2332" y="406"/>
                  </a:lnTo>
                  <a:lnTo>
                    <a:pt x="2335" y="407"/>
                  </a:lnTo>
                  <a:lnTo>
                    <a:pt x="2338" y="409"/>
                  </a:lnTo>
                  <a:lnTo>
                    <a:pt x="2341" y="410"/>
                  </a:lnTo>
                  <a:lnTo>
                    <a:pt x="2344" y="411"/>
                  </a:lnTo>
                  <a:lnTo>
                    <a:pt x="2348" y="401"/>
                  </a:lnTo>
                  <a:lnTo>
                    <a:pt x="2351" y="397"/>
                  </a:lnTo>
                  <a:lnTo>
                    <a:pt x="2353" y="394"/>
                  </a:lnTo>
                  <a:lnTo>
                    <a:pt x="2357" y="392"/>
                  </a:lnTo>
                  <a:lnTo>
                    <a:pt x="2361" y="389"/>
                  </a:lnTo>
                  <a:lnTo>
                    <a:pt x="2370" y="384"/>
                  </a:lnTo>
                  <a:lnTo>
                    <a:pt x="2370" y="381"/>
                  </a:lnTo>
                  <a:lnTo>
                    <a:pt x="2370" y="380"/>
                  </a:lnTo>
                  <a:lnTo>
                    <a:pt x="2369" y="380"/>
                  </a:lnTo>
                  <a:lnTo>
                    <a:pt x="2368" y="381"/>
                  </a:lnTo>
                  <a:lnTo>
                    <a:pt x="2368" y="379"/>
                  </a:lnTo>
                  <a:lnTo>
                    <a:pt x="2370" y="378"/>
                  </a:lnTo>
                  <a:lnTo>
                    <a:pt x="2372" y="379"/>
                  </a:lnTo>
                  <a:lnTo>
                    <a:pt x="2374" y="380"/>
                  </a:lnTo>
                  <a:lnTo>
                    <a:pt x="2376" y="381"/>
                  </a:lnTo>
                  <a:lnTo>
                    <a:pt x="2377" y="381"/>
                  </a:lnTo>
                  <a:lnTo>
                    <a:pt x="2378" y="381"/>
                  </a:lnTo>
                  <a:lnTo>
                    <a:pt x="2379" y="380"/>
                  </a:lnTo>
                  <a:lnTo>
                    <a:pt x="2379" y="379"/>
                  </a:lnTo>
                  <a:lnTo>
                    <a:pt x="2380" y="376"/>
                  </a:lnTo>
                  <a:lnTo>
                    <a:pt x="2379" y="374"/>
                  </a:lnTo>
                  <a:lnTo>
                    <a:pt x="2379" y="373"/>
                  </a:lnTo>
                  <a:lnTo>
                    <a:pt x="2378" y="373"/>
                  </a:lnTo>
                  <a:lnTo>
                    <a:pt x="2381" y="373"/>
                  </a:lnTo>
                  <a:lnTo>
                    <a:pt x="2382" y="374"/>
                  </a:lnTo>
                  <a:lnTo>
                    <a:pt x="2383" y="375"/>
                  </a:lnTo>
                  <a:lnTo>
                    <a:pt x="2386" y="375"/>
                  </a:lnTo>
                  <a:lnTo>
                    <a:pt x="2388" y="372"/>
                  </a:lnTo>
                  <a:lnTo>
                    <a:pt x="2390" y="369"/>
                  </a:lnTo>
                  <a:lnTo>
                    <a:pt x="2392" y="368"/>
                  </a:lnTo>
                  <a:lnTo>
                    <a:pt x="2395" y="368"/>
                  </a:lnTo>
                  <a:lnTo>
                    <a:pt x="2398" y="368"/>
                  </a:lnTo>
                  <a:lnTo>
                    <a:pt x="2401" y="367"/>
                  </a:lnTo>
                  <a:lnTo>
                    <a:pt x="2405" y="365"/>
                  </a:lnTo>
                  <a:lnTo>
                    <a:pt x="2409" y="362"/>
                  </a:lnTo>
                  <a:lnTo>
                    <a:pt x="2414" y="359"/>
                  </a:lnTo>
                  <a:lnTo>
                    <a:pt x="2416" y="358"/>
                  </a:lnTo>
                  <a:lnTo>
                    <a:pt x="2418" y="358"/>
                  </a:lnTo>
                  <a:lnTo>
                    <a:pt x="2423" y="357"/>
                  </a:lnTo>
                  <a:lnTo>
                    <a:pt x="2427" y="357"/>
                  </a:lnTo>
                  <a:lnTo>
                    <a:pt x="2435" y="359"/>
                  </a:lnTo>
                  <a:lnTo>
                    <a:pt x="2441" y="361"/>
                  </a:lnTo>
                  <a:lnTo>
                    <a:pt x="2445" y="362"/>
                  </a:lnTo>
                  <a:lnTo>
                    <a:pt x="2447" y="361"/>
                  </a:lnTo>
                  <a:lnTo>
                    <a:pt x="2451" y="358"/>
                  </a:lnTo>
                  <a:lnTo>
                    <a:pt x="2453" y="356"/>
                  </a:lnTo>
                  <a:lnTo>
                    <a:pt x="2452" y="352"/>
                  </a:lnTo>
                  <a:lnTo>
                    <a:pt x="2452" y="350"/>
                  </a:lnTo>
                  <a:lnTo>
                    <a:pt x="2452" y="349"/>
                  </a:lnTo>
                  <a:lnTo>
                    <a:pt x="2453" y="348"/>
                  </a:lnTo>
                  <a:lnTo>
                    <a:pt x="2452" y="347"/>
                  </a:lnTo>
                  <a:lnTo>
                    <a:pt x="2450" y="347"/>
                  </a:lnTo>
                  <a:lnTo>
                    <a:pt x="2448" y="347"/>
                  </a:lnTo>
                  <a:lnTo>
                    <a:pt x="2447" y="346"/>
                  </a:lnTo>
                  <a:lnTo>
                    <a:pt x="2444" y="336"/>
                  </a:lnTo>
                  <a:lnTo>
                    <a:pt x="2440" y="325"/>
                  </a:lnTo>
                  <a:lnTo>
                    <a:pt x="2438" y="325"/>
                  </a:lnTo>
                  <a:lnTo>
                    <a:pt x="2437" y="324"/>
                  </a:lnTo>
                  <a:lnTo>
                    <a:pt x="2438" y="323"/>
                  </a:lnTo>
                  <a:lnTo>
                    <a:pt x="2438" y="321"/>
                  </a:lnTo>
                  <a:lnTo>
                    <a:pt x="2435" y="322"/>
                  </a:lnTo>
                  <a:lnTo>
                    <a:pt x="2432" y="323"/>
                  </a:lnTo>
                  <a:lnTo>
                    <a:pt x="2433" y="323"/>
                  </a:lnTo>
                  <a:lnTo>
                    <a:pt x="2431" y="324"/>
                  </a:lnTo>
                  <a:lnTo>
                    <a:pt x="2428" y="325"/>
                  </a:lnTo>
                  <a:lnTo>
                    <a:pt x="2428" y="321"/>
                  </a:lnTo>
                  <a:lnTo>
                    <a:pt x="2430" y="319"/>
                  </a:lnTo>
                  <a:lnTo>
                    <a:pt x="2432" y="315"/>
                  </a:lnTo>
                  <a:lnTo>
                    <a:pt x="2428" y="315"/>
                  </a:lnTo>
                  <a:lnTo>
                    <a:pt x="2423" y="315"/>
                  </a:lnTo>
                  <a:lnTo>
                    <a:pt x="2418" y="315"/>
                  </a:lnTo>
                  <a:lnTo>
                    <a:pt x="2415" y="315"/>
                  </a:lnTo>
                  <a:lnTo>
                    <a:pt x="2415" y="311"/>
                  </a:lnTo>
                  <a:lnTo>
                    <a:pt x="2423" y="310"/>
                  </a:lnTo>
                  <a:lnTo>
                    <a:pt x="2430" y="310"/>
                  </a:lnTo>
                  <a:lnTo>
                    <a:pt x="2434" y="313"/>
                  </a:lnTo>
                  <a:lnTo>
                    <a:pt x="2436" y="314"/>
                  </a:lnTo>
                  <a:lnTo>
                    <a:pt x="2439" y="314"/>
                  </a:lnTo>
                  <a:lnTo>
                    <a:pt x="2447" y="315"/>
                  </a:lnTo>
                  <a:lnTo>
                    <a:pt x="2457" y="315"/>
                  </a:lnTo>
                  <a:lnTo>
                    <a:pt x="2464" y="310"/>
                  </a:lnTo>
                  <a:lnTo>
                    <a:pt x="2466" y="306"/>
                  </a:lnTo>
                  <a:lnTo>
                    <a:pt x="2467" y="302"/>
                  </a:lnTo>
                  <a:lnTo>
                    <a:pt x="2468" y="294"/>
                  </a:lnTo>
                  <a:lnTo>
                    <a:pt x="2465" y="293"/>
                  </a:lnTo>
                  <a:lnTo>
                    <a:pt x="2463" y="292"/>
                  </a:lnTo>
                  <a:lnTo>
                    <a:pt x="2462" y="292"/>
                  </a:lnTo>
                  <a:lnTo>
                    <a:pt x="2462" y="291"/>
                  </a:lnTo>
                  <a:lnTo>
                    <a:pt x="2463" y="288"/>
                  </a:lnTo>
                  <a:lnTo>
                    <a:pt x="2464" y="286"/>
                  </a:lnTo>
                  <a:lnTo>
                    <a:pt x="2465" y="283"/>
                  </a:lnTo>
                  <a:lnTo>
                    <a:pt x="2464" y="279"/>
                  </a:lnTo>
                  <a:lnTo>
                    <a:pt x="2468" y="278"/>
                  </a:lnTo>
                  <a:lnTo>
                    <a:pt x="2471" y="277"/>
                  </a:lnTo>
                  <a:lnTo>
                    <a:pt x="2472" y="277"/>
                  </a:lnTo>
                  <a:lnTo>
                    <a:pt x="2470" y="283"/>
                  </a:lnTo>
                  <a:lnTo>
                    <a:pt x="2471" y="282"/>
                  </a:lnTo>
                  <a:lnTo>
                    <a:pt x="2472" y="283"/>
                  </a:lnTo>
                  <a:lnTo>
                    <a:pt x="2474" y="285"/>
                  </a:lnTo>
                  <a:lnTo>
                    <a:pt x="2472" y="285"/>
                  </a:lnTo>
                  <a:lnTo>
                    <a:pt x="2471" y="286"/>
                  </a:lnTo>
                  <a:lnTo>
                    <a:pt x="2470" y="287"/>
                  </a:lnTo>
                  <a:lnTo>
                    <a:pt x="2470" y="289"/>
                  </a:lnTo>
                  <a:lnTo>
                    <a:pt x="2471" y="291"/>
                  </a:lnTo>
                  <a:lnTo>
                    <a:pt x="2472" y="294"/>
                  </a:lnTo>
                  <a:lnTo>
                    <a:pt x="2478" y="299"/>
                  </a:lnTo>
                  <a:lnTo>
                    <a:pt x="2482" y="302"/>
                  </a:lnTo>
                  <a:lnTo>
                    <a:pt x="2483" y="301"/>
                  </a:lnTo>
                  <a:lnTo>
                    <a:pt x="2483" y="300"/>
                  </a:lnTo>
                  <a:lnTo>
                    <a:pt x="2483" y="299"/>
                  </a:lnTo>
                  <a:lnTo>
                    <a:pt x="2482" y="298"/>
                  </a:lnTo>
                  <a:lnTo>
                    <a:pt x="2486" y="296"/>
                  </a:lnTo>
                  <a:lnTo>
                    <a:pt x="2490" y="294"/>
                  </a:lnTo>
                  <a:lnTo>
                    <a:pt x="2493" y="293"/>
                  </a:lnTo>
                  <a:lnTo>
                    <a:pt x="2496" y="293"/>
                  </a:lnTo>
                  <a:lnTo>
                    <a:pt x="2499" y="293"/>
                  </a:lnTo>
                  <a:lnTo>
                    <a:pt x="2501" y="294"/>
                  </a:lnTo>
                  <a:lnTo>
                    <a:pt x="2504" y="297"/>
                  </a:lnTo>
                  <a:lnTo>
                    <a:pt x="2507" y="300"/>
                  </a:lnTo>
                  <a:lnTo>
                    <a:pt x="2510" y="302"/>
                  </a:lnTo>
                  <a:lnTo>
                    <a:pt x="2512" y="304"/>
                  </a:lnTo>
                  <a:lnTo>
                    <a:pt x="2512" y="306"/>
                  </a:lnTo>
                  <a:lnTo>
                    <a:pt x="2512" y="309"/>
                  </a:lnTo>
                  <a:lnTo>
                    <a:pt x="2511" y="311"/>
                  </a:lnTo>
                  <a:lnTo>
                    <a:pt x="2512" y="313"/>
                  </a:lnTo>
                  <a:lnTo>
                    <a:pt x="2515" y="314"/>
                  </a:lnTo>
                  <a:lnTo>
                    <a:pt x="2522" y="316"/>
                  </a:lnTo>
                  <a:lnTo>
                    <a:pt x="2531" y="319"/>
                  </a:lnTo>
                  <a:lnTo>
                    <a:pt x="2537" y="321"/>
                  </a:lnTo>
                  <a:lnTo>
                    <a:pt x="2537" y="325"/>
                  </a:lnTo>
                  <a:lnTo>
                    <a:pt x="2542" y="323"/>
                  </a:lnTo>
                  <a:lnTo>
                    <a:pt x="2545" y="322"/>
                  </a:lnTo>
                  <a:lnTo>
                    <a:pt x="2547" y="321"/>
                  </a:lnTo>
                  <a:lnTo>
                    <a:pt x="2547" y="325"/>
                  </a:lnTo>
                  <a:lnTo>
                    <a:pt x="2552" y="324"/>
                  </a:lnTo>
                  <a:lnTo>
                    <a:pt x="2555" y="325"/>
                  </a:lnTo>
                  <a:lnTo>
                    <a:pt x="2559" y="325"/>
                  </a:lnTo>
                  <a:lnTo>
                    <a:pt x="2559" y="324"/>
                  </a:lnTo>
                  <a:lnTo>
                    <a:pt x="2558" y="322"/>
                  </a:lnTo>
                  <a:lnTo>
                    <a:pt x="2553" y="315"/>
                  </a:lnTo>
                  <a:lnTo>
                    <a:pt x="2553" y="311"/>
                  </a:lnTo>
                  <a:lnTo>
                    <a:pt x="2557" y="312"/>
                  </a:lnTo>
                  <a:lnTo>
                    <a:pt x="2560" y="311"/>
                  </a:lnTo>
                  <a:lnTo>
                    <a:pt x="2560" y="307"/>
                  </a:lnTo>
                  <a:lnTo>
                    <a:pt x="2560" y="304"/>
                  </a:lnTo>
                  <a:lnTo>
                    <a:pt x="2557" y="305"/>
                  </a:lnTo>
                  <a:lnTo>
                    <a:pt x="2556" y="306"/>
                  </a:lnTo>
                  <a:lnTo>
                    <a:pt x="2555" y="306"/>
                  </a:lnTo>
                  <a:lnTo>
                    <a:pt x="2555" y="300"/>
                  </a:lnTo>
                  <a:lnTo>
                    <a:pt x="2553" y="298"/>
                  </a:lnTo>
                  <a:lnTo>
                    <a:pt x="2560" y="298"/>
                  </a:lnTo>
                  <a:lnTo>
                    <a:pt x="2560" y="300"/>
                  </a:lnTo>
                  <a:lnTo>
                    <a:pt x="2562" y="300"/>
                  </a:lnTo>
                  <a:lnTo>
                    <a:pt x="2565" y="300"/>
                  </a:lnTo>
                  <a:lnTo>
                    <a:pt x="2568" y="300"/>
                  </a:lnTo>
                  <a:lnTo>
                    <a:pt x="2574" y="302"/>
                  </a:lnTo>
                  <a:lnTo>
                    <a:pt x="2573" y="303"/>
                  </a:lnTo>
                  <a:lnTo>
                    <a:pt x="2574" y="303"/>
                  </a:lnTo>
                  <a:lnTo>
                    <a:pt x="2575" y="304"/>
                  </a:lnTo>
                  <a:lnTo>
                    <a:pt x="2576" y="304"/>
                  </a:lnTo>
                  <a:lnTo>
                    <a:pt x="2576" y="303"/>
                  </a:lnTo>
                  <a:lnTo>
                    <a:pt x="2575" y="300"/>
                  </a:lnTo>
                  <a:lnTo>
                    <a:pt x="2574" y="296"/>
                  </a:lnTo>
                  <a:lnTo>
                    <a:pt x="2578" y="296"/>
                  </a:lnTo>
                  <a:lnTo>
                    <a:pt x="2579" y="292"/>
                  </a:lnTo>
                  <a:lnTo>
                    <a:pt x="2580" y="288"/>
                  </a:lnTo>
                  <a:lnTo>
                    <a:pt x="2583" y="288"/>
                  </a:lnTo>
                  <a:lnTo>
                    <a:pt x="2576" y="285"/>
                  </a:lnTo>
                  <a:lnTo>
                    <a:pt x="2572" y="283"/>
                  </a:lnTo>
                  <a:lnTo>
                    <a:pt x="2568" y="281"/>
                  </a:lnTo>
                  <a:lnTo>
                    <a:pt x="2566" y="279"/>
                  </a:lnTo>
                  <a:lnTo>
                    <a:pt x="2564" y="277"/>
                  </a:lnTo>
                  <a:lnTo>
                    <a:pt x="2560" y="271"/>
                  </a:lnTo>
                  <a:lnTo>
                    <a:pt x="2556" y="266"/>
                  </a:lnTo>
                  <a:lnTo>
                    <a:pt x="2554" y="265"/>
                  </a:lnTo>
                  <a:lnTo>
                    <a:pt x="2551" y="263"/>
                  </a:lnTo>
                  <a:lnTo>
                    <a:pt x="2546" y="263"/>
                  </a:lnTo>
                  <a:lnTo>
                    <a:pt x="2540" y="263"/>
                  </a:lnTo>
                  <a:lnTo>
                    <a:pt x="2530" y="263"/>
                  </a:lnTo>
                  <a:lnTo>
                    <a:pt x="2530" y="264"/>
                  </a:lnTo>
                  <a:lnTo>
                    <a:pt x="2528" y="266"/>
                  </a:lnTo>
                  <a:lnTo>
                    <a:pt x="2526" y="267"/>
                  </a:lnTo>
                  <a:lnTo>
                    <a:pt x="2528" y="268"/>
                  </a:lnTo>
                  <a:lnTo>
                    <a:pt x="2528" y="269"/>
                  </a:lnTo>
                  <a:lnTo>
                    <a:pt x="2528" y="271"/>
                  </a:lnTo>
                  <a:lnTo>
                    <a:pt x="2528" y="273"/>
                  </a:lnTo>
                  <a:lnTo>
                    <a:pt x="2530" y="273"/>
                  </a:lnTo>
                  <a:lnTo>
                    <a:pt x="2528" y="273"/>
                  </a:lnTo>
                  <a:lnTo>
                    <a:pt x="2522" y="273"/>
                  </a:lnTo>
                  <a:lnTo>
                    <a:pt x="2524" y="273"/>
                  </a:lnTo>
                  <a:lnTo>
                    <a:pt x="2525" y="272"/>
                  </a:lnTo>
                  <a:lnTo>
                    <a:pt x="2525" y="271"/>
                  </a:lnTo>
                  <a:lnTo>
                    <a:pt x="2525" y="269"/>
                  </a:lnTo>
                  <a:lnTo>
                    <a:pt x="2524" y="266"/>
                  </a:lnTo>
                  <a:lnTo>
                    <a:pt x="2523" y="262"/>
                  </a:lnTo>
                  <a:lnTo>
                    <a:pt x="2521" y="257"/>
                  </a:lnTo>
                  <a:lnTo>
                    <a:pt x="2519" y="254"/>
                  </a:lnTo>
                  <a:lnTo>
                    <a:pt x="2516" y="250"/>
                  </a:lnTo>
                  <a:lnTo>
                    <a:pt x="2514" y="251"/>
                  </a:lnTo>
                  <a:lnTo>
                    <a:pt x="2513" y="252"/>
                  </a:lnTo>
                  <a:lnTo>
                    <a:pt x="2512" y="252"/>
                  </a:lnTo>
                  <a:lnTo>
                    <a:pt x="2510" y="249"/>
                  </a:lnTo>
                  <a:lnTo>
                    <a:pt x="2509" y="246"/>
                  </a:lnTo>
                  <a:lnTo>
                    <a:pt x="2506" y="246"/>
                  </a:lnTo>
                  <a:lnTo>
                    <a:pt x="2503" y="246"/>
                  </a:lnTo>
                  <a:lnTo>
                    <a:pt x="2500" y="247"/>
                  </a:lnTo>
                  <a:lnTo>
                    <a:pt x="2498" y="247"/>
                  </a:lnTo>
                  <a:lnTo>
                    <a:pt x="2497" y="246"/>
                  </a:lnTo>
                  <a:lnTo>
                    <a:pt x="2497" y="245"/>
                  </a:lnTo>
                  <a:lnTo>
                    <a:pt x="2497" y="243"/>
                  </a:lnTo>
                  <a:lnTo>
                    <a:pt x="2497" y="240"/>
                  </a:lnTo>
                  <a:lnTo>
                    <a:pt x="2496" y="239"/>
                  </a:lnTo>
                  <a:lnTo>
                    <a:pt x="2495" y="239"/>
                  </a:lnTo>
                  <a:lnTo>
                    <a:pt x="2493" y="239"/>
                  </a:lnTo>
                  <a:lnTo>
                    <a:pt x="2491" y="238"/>
                  </a:lnTo>
                  <a:lnTo>
                    <a:pt x="2491" y="235"/>
                  </a:lnTo>
                  <a:lnTo>
                    <a:pt x="2489" y="234"/>
                  </a:lnTo>
                  <a:lnTo>
                    <a:pt x="2487" y="234"/>
                  </a:lnTo>
                  <a:lnTo>
                    <a:pt x="2484" y="234"/>
                  </a:lnTo>
                  <a:lnTo>
                    <a:pt x="2482" y="233"/>
                  </a:lnTo>
                  <a:lnTo>
                    <a:pt x="2479" y="230"/>
                  </a:lnTo>
                  <a:lnTo>
                    <a:pt x="2477" y="227"/>
                  </a:lnTo>
                  <a:lnTo>
                    <a:pt x="2475" y="223"/>
                  </a:lnTo>
                  <a:lnTo>
                    <a:pt x="2474" y="222"/>
                  </a:lnTo>
                  <a:lnTo>
                    <a:pt x="2472" y="221"/>
                  </a:lnTo>
                  <a:lnTo>
                    <a:pt x="2470" y="221"/>
                  </a:lnTo>
                  <a:lnTo>
                    <a:pt x="2468" y="221"/>
                  </a:lnTo>
                  <a:lnTo>
                    <a:pt x="2466" y="222"/>
                  </a:lnTo>
                  <a:lnTo>
                    <a:pt x="2464" y="221"/>
                  </a:lnTo>
                  <a:lnTo>
                    <a:pt x="2451" y="210"/>
                  </a:lnTo>
                  <a:lnTo>
                    <a:pt x="2450" y="208"/>
                  </a:lnTo>
                  <a:lnTo>
                    <a:pt x="2450" y="207"/>
                  </a:lnTo>
                  <a:lnTo>
                    <a:pt x="2450" y="205"/>
                  </a:lnTo>
                  <a:lnTo>
                    <a:pt x="2449" y="204"/>
                  </a:lnTo>
                  <a:lnTo>
                    <a:pt x="2447" y="203"/>
                  </a:lnTo>
                  <a:lnTo>
                    <a:pt x="2445" y="202"/>
                  </a:lnTo>
                  <a:lnTo>
                    <a:pt x="2442" y="201"/>
                  </a:lnTo>
                  <a:lnTo>
                    <a:pt x="2439" y="201"/>
                  </a:lnTo>
                  <a:lnTo>
                    <a:pt x="2437" y="202"/>
                  </a:lnTo>
                  <a:lnTo>
                    <a:pt x="2433" y="203"/>
                  </a:lnTo>
                  <a:lnTo>
                    <a:pt x="2430" y="204"/>
                  </a:lnTo>
                  <a:lnTo>
                    <a:pt x="2428" y="203"/>
                  </a:lnTo>
                  <a:lnTo>
                    <a:pt x="2426" y="202"/>
                  </a:lnTo>
                  <a:lnTo>
                    <a:pt x="2425" y="201"/>
                  </a:lnTo>
                  <a:lnTo>
                    <a:pt x="2424" y="200"/>
                  </a:lnTo>
                  <a:lnTo>
                    <a:pt x="2422" y="197"/>
                  </a:lnTo>
                  <a:lnTo>
                    <a:pt x="2422" y="195"/>
                  </a:lnTo>
                  <a:lnTo>
                    <a:pt x="2420" y="194"/>
                  </a:lnTo>
                  <a:lnTo>
                    <a:pt x="2418" y="193"/>
                  </a:lnTo>
                  <a:lnTo>
                    <a:pt x="2415" y="193"/>
                  </a:lnTo>
                  <a:lnTo>
                    <a:pt x="2412" y="193"/>
                  </a:lnTo>
                  <a:lnTo>
                    <a:pt x="2409" y="192"/>
                  </a:lnTo>
                  <a:lnTo>
                    <a:pt x="2407" y="189"/>
                  </a:lnTo>
                  <a:lnTo>
                    <a:pt x="2405" y="187"/>
                  </a:lnTo>
                  <a:lnTo>
                    <a:pt x="2401" y="186"/>
                  </a:lnTo>
                  <a:lnTo>
                    <a:pt x="2397" y="186"/>
                  </a:lnTo>
                  <a:lnTo>
                    <a:pt x="2388" y="187"/>
                  </a:lnTo>
                  <a:lnTo>
                    <a:pt x="2380" y="188"/>
                  </a:lnTo>
                  <a:lnTo>
                    <a:pt x="2376" y="189"/>
                  </a:lnTo>
                  <a:lnTo>
                    <a:pt x="2372" y="189"/>
                  </a:lnTo>
                  <a:lnTo>
                    <a:pt x="2370" y="185"/>
                  </a:lnTo>
                  <a:lnTo>
                    <a:pt x="2367" y="185"/>
                  </a:lnTo>
                  <a:lnTo>
                    <a:pt x="2363" y="186"/>
                  </a:lnTo>
                  <a:lnTo>
                    <a:pt x="2358" y="187"/>
                  </a:lnTo>
                  <a:lnTo>
                    <a:pt x="2356" y="187"/>
                  </a:lnTo>
                  <a:lnTo>
                    <a:pt x="2353" y="187"/>
                  </a:lnTo>
                  <a:lnTo>
                    <a:pt x="2351" y="184"/>
                  </a:lnTo>
                  <a:lnTo>
                    <a:pt x="2349" y="183"/>
                  </a:lnTo>
                  <a:lnTo>
                    <a:pt x="2348" y="183"/>
                  </a:lnTo>
                  <a:lnTo>
                    <a:pt x="2347" y="183"/>
                  </a:lnTo>
                  <a:lnTo>
                    <a:pt x="2345" y="194"/>
                  </a:lnTo>
                  <a:lnTo>
                    <a:pt x="2347" y="196"/>
                  </a:lnTo>
                  <a:lnTo>
                    <a:pt x="2349" y="198"/>
                  </a:lnTo>
                  <a:lnTo>
                    <a:pt x="2353" y="200"/>
                  </a:lnTo>
                  <a:lnTo>
                    <a:pt x="2352" y="202"/>
                  </a:lnTo>
                  <a:lnTo>
                    <a:pt x="2351" y="203"/>
                  </a:lnTo>
                  <a:lnTo>
                    <a:pt x="2351" y="204"/>
                  </a:lnTo>
                  <a:lnTo>
                    <a:pt x="2353" y="210"/>
                  </a:lnTo>
                  <a:lnTo>
                    <a:pt x="2351" y="210"/>
                  </a:lnTo>
                  <a:lnTo>
                    <a:pt x="2350" y="210"/>
                  </a:lnTo>
                  <a:lnTo>
                    <a:pt x="2349" y="212"/>
                  </a:lnTo>
                  <a:lnTo>
                    <a:pt x="2344" y="219"/>
                  </a:lnTo>
                  <a:lnTo>
                    <a:pt x="2340" y="218"/>
                  </a:lnTo>
                  <a:lnTo>
                    <a:pt x="2339" y="217"/>
                  </a:lnTo>
                  <a:lnTo>
                    <a:pt x="2338" y="217"/>
                  </a:lnTo>
                  <a:lnTo>
                    <a:pt x="2336" y="221"/>
                  </a:lnTo>
                  <a:lnTo>
                    <a:pt x="2331" y="221"/>
                  </a:lnTo>
                  <a:lnTo>
                    <a:pt x="2326" y="221"/>
                  </a:lnTo>
                  <a:lnTo>
                    <a:pt x="2326" y="218"/>
                  </a:lnTo>
                  <a:lnTo>
                    <a:pt x="2325" y="214"/>
                  </a:lnTo>
                  <a:lnTo>
                    <a:pt x="2325" y="211"/>
                  </a:lnTo>
                  <a:lnTo>
                    <a:pt x="2324" y="208"/>
                  </a:lnTo>
                  <a:lnTo>
                    <a:pt x="2319" y="206"/>
                  </a:lnTo>
                  <a:lnTo>
                    <a:pt x="2319" y="205"/>
                  </a:lnTo>
                  <a:lnTo>
                    <a:pt x="2319" y="202"/>
                  </a:lnTo>
                  <a:lnTo>
                    <a:pt x="2319" y="196"/>
                  </a:lnTo>
                  <a:lnTo>
                    <a:pt x="2311" y="201"/>
                  </a:lnTo>
                  <a:lnTo>
                    <a:pt x="2307" y="203"/>
                  </a:lnTo>
                  <a:lnTo>
                    <a:pt x="2303" y="204"/>
                  </a:lnTo>
                  <a:lnTo>
                    <a:pt x="2301" y="204"/>
                  </a:lnTo>
                  <a:lnTo>
                    <a:pt x="2300" y="204"/>
                  </a:lnTo>
                  <a:lnTo>
                    <a:pt x="2298" y="202"/>
                  </a:lnTo>
                  <a:lnTo>
                    <a:pt x="2298" y="201"/>
                  </a:lnTo>
                  <a:lnTo>
                    <a:pt x="2299" y="200"/>
                  </a:lnTo>
                  <a:lnTo>
                    <a:pt x="2290" y="198"/>
                  </a:lnTo>
                  <a:lnTo>
                    <a:pt x="2285" y="198"/>
                  </a:lnTo>
                  <a:lnTo>
                    <a:pt x="2280" y="198"/>
                  </a:lnTo>
                  <a:lnTo>
                    <a:pt x="2278" y="200"/>
                  </a:lnTo>
                  <a:lnTo>
                    <a:pt x="2276" y="201"/>
                  </a:lnTo>
                  <a:lnTo>
                    <a:pt x="2274" y="202"/>
                  </a:lnTo>
                  <a:lnTo>
                    <a:pt x="2274" y="201"/>
                  </a:lnTo>
                  <a:lnTo>
                    <a:pt x="2273" y="200"/>
                  </a:lnTo>
                  <a:lnTo>
                    <a:pt x="2273" y="196"/>
                  </a:lnTo>
                  <a:lnTo>
                    <a:pt x="2255" y="196"/>
                  </a:lnTo>
                  <a:lnTo>
                    <a:pt x="2248" y="197"/>
                  </a:lnTo>
                  <a:lnTo>
                    <a:pt x="2242" y="198"/>
                  </a:lnTo>
                  <a:lnTo>
                    <a:pt x="2239" y="199"/>
                  </a:lnTo>
                  <a:lnTo>
                    <a:pt x="2237" y="200"/>
                  </a:lnTo>
                  <a:lnTo>
                    <a:pt x="2235" y="202"/>
                  </a:lnTo>
                  <a:lnTo>
                    <a:pt x="2233" y="204"/>
                  </a:lnTo>
                  <a:lnTo>
                    <a:pt x="2232" y="207"/>
                  </a:lnTo>
                  <a:lnTo>
                    <a:pt x="2230" y="210"/>
                  </a:lnTo>
                  <a:lnTo>
                    <a:pt x="2228" y="217"/>
                  </a:lnTo>
                  <a:lnTo>
                    <a:pt x="2225" y="209"/>
                  </a:lnTo>
                  <a:lnTo>
                    <a:pt x="2223" y="200"/>
                  </a:lnTo>
                  <a:lnTo>
                    <a:pt x="2218" y="200"/>
                  </a:lnTo>
                  <a:lnTo>
                    <a:pt x="2217" y="199"/>
                  </a:lnTo>
                  <a:lnTo>
                    <a:pt x="2215" y="198"/>
                  </a:lnTo>
                  <a:lnTo>
                    <a:pt x="2216" y="193"/>
                  </a:lnTo>
                  <a:lnTo>
                    <a:pt x="2216" y="191"/>
                  </a:lnTo>
                  <a:lnTo>
                    <a:pt x="2216" y="189"/>
                  </a:lnTo>
                  <a:lnTo>
                    <a:pt x="2215" y="189"/>
                  </a:lnTo>
                  <a:lnTo>
                    <a:pt x="2217" y="188"/>
                  </a:lnTo>
                  <a:lnTo>
                    <a:pt x="2218" y="189"/>
                  </a:lnTo>
                  <a:lnTo>
                    <a:pt x="2218" y="188"/>
                  </a:lnTo>
                  <a:lnTo>
                    <a:pt x="2219" y="187"/>
                  </a:lnTo>
                  <a:lnTo>
                    <a:pt x="2213" y="183"/>
                  </a:lnTo>
                  <a:lnTo>
                    <a:pt x="2207" y="179"/>
                  </a:lnTo>
                  <a:lnTo>
                    <a:pt x="2207" y="178"/>
                  </a:lnTo>
                  <a:lnTo>
                    <a:pt x="2206" y="176"/>
                  </a:lnTo>
                  <a:lnTo>
                    <a:pt x="2205" y="173"/>
                  </a:lnTo>
                  <a:lnTo>
                    <a:pt x="2202" y="172"/>
                  </a:lnTo>
                  <a:lnTo>
                    <a:pt x="2200" y="172"/>
                  </a:lnTo>
                  <a:lnTo>
                    <a:pt x="2197" y="172"/>
                  </a:lnTo>
                  <a:lnTo>
                    <a:pt x="2194" y="171"/>
                  </a:lnTo>
                  <a:lnTo>
                    <a:pt x="2190" y="167"/>
                  </a:lnTo>
                  <a:lnTo>
                    <a:pt x="2181" y="170"/>
                  </a:lnTo>
                  <a:lnTo>
                    <a:pt x="2175" y="172"/>
                  </a:lnTo>
                  <a:lnTo>
                    <a:pt x="2171" y="173"/>
                  </a:lnTo>
                  <a:lnTo>
                    <a:pt x="2169" y="173"/>
                  </a:lnTo>
                  <a:lnTo>
                    <a:pt x="2168" y="171"/>
                  </a:lnTo>
                  <a:lnTo>
                    <a:pt x="2168" y="170"/>
                  </a:lnTo>
                  <a:lnTo>
                    <a:pt x="2167" y="169"/>
                  </a:lnTo>
                  <a:lnTo>
                    <a:pt x="2159" y="169"/>
                  </a:lnTo>
                  <a:lnTo>
                    <a:pt x="2150" y="169"/>
                  </a:lnTo>
                  <a:lnTo>
                    <a:pt x="2144" y="173"/>
                  </a:lnTo>
                  <a:lnTo>
                    <a:pt x="2141" y="174"/>
                  </a:lnTo>
                  <a:lnTo>
                    <a:pt x="2139" y="173"/>
                  </a:lnTo>
                  <a:lnTo>
                    <a:pt x="2135" y="173"/>
                  </a:lnTo>
                  <a:lnTo>
                    <a:pt x="2131" y="172"/>
                  </a:lnTo>
                  <a:lnTo>
                    <a:pt x="2129" y="171"/>
                  </a:lnTo>
                  <a:lnTo>
                    <a:pt x="2127" y="171"/>
                  </a:lnTo>
                  <a:lnTo>
                    <a:pt x="2123" y="175"/>
                  </a:lnTo>
                  <a:lnTo>
                    <a:pt x="2116" y="176"/>
                  </a:lnTo>
                  <a:lnTo>
                    <a:pt x="2109" y="177"/>
                  </a:lnTo>
                  <a:lnTo>
                    <a:pt x="2095" y="177"/>
                  </a:lnTo>
                  <a:lnTo>
                    <a:pt x="2082" y="176"/>
                  </a:lnTo>
                  <a:lnTo>
                    <a:pt x="2073" y="175"/>
                  </a:lnTo>
                  <a:lnTo>
                    <a:pt x="2074" y="174"/>
                  </a:lnTo>
                  <a:lnTo>
                    <a:pt x="2075" y="173"/>
                  </a:lnTo>
                  <a:lnTo>
                    <a:pt x="2077" y="171"/>
                  </a:lnTo>
                  <a:lnTo>
                    <a:pt x="2078" y="172"/>
                  </a:lnTo>
                  <a:lnTo>
                    <a:pt x="2080" y="173"/>
                  </a:lnTo>
                  <a:lnTo>
                    <a:pt x="2082" y="173"/>
                  </a:lnTo>
                  <a:lnTo>
                    <a:pt x="2083" y="173"/>
                  </a:lnTo>
                  <a:lnTo>
                    <a:pt x="2084" y="173"/>
                  </a:lnTo>
                  <a:lnTo>
                    <a:pt x="2087" y="171"/>
                  </a:lnTo>
                  <a:lnTo>
                    <a:pt x="2091" y="167"/>
                  </a:lnTo>
                  <a:lnTo>
                    <a:pt x="2096" y="162"/>
                  </a:lnTo>
                  <a:lnTo>
                    <a:pt x="2098" y="160"/>
                  </a:lnTo>
                  <a:lnTo>
                    <a:pt x="2100" y="155"/>
                  </a:lnTo>
                  <a:lnTo>
                    <a:pt x="2100" y="154"/>
                  </a:lnTo>
                  <a:lnTo>
                    <a:pt x="2099" y="154"/>
                  </a:lnTo>
                  <a:lnTo>
                    <a:pt x="2097" y="155"/>
                  </a:lnTo>
                  <a:lnTo>
                    <a:pt x="2093" y="159"/>
                  </a:lnTo>
                  <a:lnTo>
                    <a:pt x="2090" y="162"/>
                  </a:lnTo>
                  <a:lnTo>
                    <a:pt x="2090" y="164"/>
                  </a:lnTo>
                  <a:lnTo>
                    <a:pt x="2089" y="164"/>
                  </a:lnTo>
                  <a:lnTo>
                    <a:pt x="2087" y="163"/>
                  </a:lnTo>
                  <a:lnTo>
                    <a:pt x="2086" y="163"/>
                  </a:lnTo>
                  <a:lnTo>
                    <a:pt x="2084" y="164"/>
                  </a:lnTo>
                  <a:lnTo>
                    <a:pt x="2081" y="162"/>
                  </a:lnTo>
                  <a:lnTo>
                    <a:pt x="2077" y="160"/>
                  </a:lnTo>
                  <a:lnTo>
                    <a:pt x="2077" y="157"/>
                  </a:lnTo>
                  <a:lnTo>
                    <a:pt x="2077" y="155"/>
                  </a:lnTo>
                  <a:lnTo>
                    <a:pt x="2078" y="155"/>
                  </a:lnTo>
                  <a:lnTo>
                    <a:pt x="2079" y="156"/>
                  </a:lnTo>
                  <a:lnTo>
                    <a:pt x="2080" y="156"/>
                  </a:lnTo>
                  <a:lnTo>
                    <a:pt x="2086" y="158"/>
                  </a:lnTo>
                  <a:lnTo>
                    <a:pt x="2088" y="153"/>
                  </a:lnTo>
                  <a:lnTo>
                    <a:pt x="2090" y="148"/>
                  </a:lnTo>
                  <a:lnTo>
                    <a:pt x="2079" y="143"/>
                  </a:lnTo>
                  <a:lnTo>
                    <a:pt x="2073" y="140"/>
                  </a:lnTo>
                  <a:lnTo>
                    <a:pt x="2067" y="139"/>
                  </a:lnTo>
                  <a:lnTo>
                    <a:pt x="2064" y="139"/>
                  </a:lnTo>
                  <a:lnTo>
                    <a:pt x="2063" y="140"/>
                  </a:lnTo>
                  <a:lnTo>
                    <a:pt x="2063" y="141"/>
                  </a:lnTo>
                  <a:lnTo>
                    <a:pt x="2059" y="140"/>
                  </a:lnTo>
                  <a:lnTo>
                    <a:pt x="2056" y="140"/>
                  </a:lnTo>
                  <a:lnTo>
                    <a:pt x="2052" y="140"/>
                  </a:lnTo>
                  <a:lnTo>
                    <a:pt x="2050" y="141"/>
                  </a:lnTo>
                  <a:lnTo>
                    <a:pt x="2048" y="142"/>
                  </a:lnTo>
                  <a:lnTo>
                    <a:pt x="2048" y="145"/>
                  </a:lnTo>
                  <a:lnTo>
                    <a:pt x="2048" y="148"/>
                  </a:lnTo>
                  <a:lnTo>
                    <a:pt x="2047" y="151"/>
                  </a:lnTo>
                  <a:lnTo>
                    <a:pt x="2046" y="153"/>
                  </a:lnTo>
                  <a:lnTo>
                    <a:pt x="2043" y="158"/>
                  </a:lnTo>
                  <a:lnTo>
                    <a:pt x="2041" y="160"/>
                  </a:lnTo>
                  <a:lnTo>
                    <a:pt x="2039" y="161"/>
                  </a:lnTo>
                  <a:lnTo>
                    <a:pt x="2037" y="163"/>
                  </a:lnTo>
                  <a:lnTo>
                    <a:pt x="2034" y="164"/>
                  </a:lnTo>
                  <a:lnTo>
                    <a:pt x="2030" y="164"/>
                  </a:lnTo>
                  <a:lnTo>
                    <a:pt x="2028" y="164"/>
                  </a:lnTo>
                  <a:lnTo>
                    <a:pt x="2027" y="164"/>
                  </a:lnTo>
                  <a:lnTo>
                    <a:pt x="2027" y="163"/>
                  </a:lnTo>
                  <a:lnTo>
                    <a:pt x="2030" y="160"/>
                  </a:lnTo>
                  <a:lnTo>
                    <a:pt x="2033" y="158"/>
                  </a:lnTo>
                  <a:lnTo>
                    <a:pt x="2033" y="157"/>
                  </a:lnTo>
                  <a:lnTo>
                    <a:pt x="2032" y="157"/>
                  </a:lnTo>
                  <a:lnTo>
                    <a:pt x="2031" y="156"/>
                  </a:lnTo>
                  <a:lnTo>
                    <a:pt x="2029" y="154"/>
                  </a:lnTo>
                  <a:lnTo>
                    <a:pt x="2034" y="150"/>
                  </a:lnTo>
                  <a:lnTo>
                    <a:pt x="2036" y="148"/>
                  </a:lnTo>
                  <a:lnTo>
                    <a:pt x="2038" y="146"/>
                  </a:lnTo>
                  <a:lnTo>
                    <a:pt x="2038" y="144"/>
                  </a:lnTo>
                  <a:lnTo>
                    <a:pt x="2040" y="148"/>
                  </a:lnTo>
                  <a:lnTo>
                    <a:pt x="2042" y="149"/>
                  </a:lnTo>
                  <a:lnTo>
                    <a:pt x="2044" y="150"/>
                  </a:lnTo>
                  <a:lnTo>
                    <a:pt x="2043" y="149"/>
                  </a:lnTo>
                  <a:lnTo>
                    <a:pt x="2044" y="146"/>
                  </a:lnTo>
                  <a:lnTo>
                    <a:pt x="2046" y="142"/>
                  </a:lnTo>
                  <a:lnTo>
                    <a:pt x="2032" y="143"/>
                  </a:lnTo>
                  <a:lnTo>
                    <a:pt x="2019" y="144"/>
                  </a:lnTo>
                  <a:lnTo>
                    <a:pt x="2017" y="137"/>
                  </a:lnTo>
                  <a:lnTo>
                    <a:pt x="2030" y="137"/>
                  </a:lnTo>
                  <a:lnTo>
                    <a:pt x="2032" y="136"/>
                  </a:lnTo>
                  <a:lnTo>
                    <a:pt x="2030" y="134"/>
                  </a:lnTo>
                  <a:lnTo>
                    <a:pt x="2025" y="133"/>
                  </a:lnTo>
                  <a:lnTo>
                    <a:pt x="2020" y="132"/>
                  </a:lnTo>
                  <a:lnTo>
                    <a:pt x="2014" y="131"/>
                  </a:lnTo>
                  <a:lnTo>
                    <a:pt x="2002" y="130"/>
                  </a:lnTo>
                  <a:lnTo>
                    <a:pt x="1991" y="130"/>
                  </a:lnTo>
                  <a:lnTo>
                    <a:pt x="1986" y="129"/>
                  </a:lnTo>
                  <a:lnTo>
                    <a:pt x="1981" y="127"/>
                  </a:lnTo>
                  <a:lnTo>
                    <a:pt x="1979" y="124"/>
                  </a:lnTo>
                  <a:lnTo>
                    <a:pt x="1977" y="121"/>
                  </a:lnTo>
                  <a:lnTo>
                    <a:pt x="1975" y="121"/>
                  </a:lnTo>
                  <a:lnTo>
                    <a:pt x="1973" y="121"/>
                  </a:lnTo>
                  <a:lnTo>
                    <a:pt x="1971" y="122"/>
                  </a:lnTo>
                  <a:lnTo>
                    <a:pt x="1969" y="121"/>
                  </a:lnTo>
                  <a:lnTo>
                    <a:pt x="1969" y="125"/>
                  </a:lnTo>
                  <a:lnTo>
                    <a:pt x="1971" y="125"/>
                  </a:lnTo>
                  <a:lnTo>
                    <a:pt x="1973" y="126"/>
                  </a:lnTo>
                  <a:lnTo>
                    <a:pt x="1974" y="127"/>
                  </a:lnTo>
                  <a:lnTo>
                    <a:pt x="1974" y="129"/>
                  </a:lnTo>
                  <a:lnTo>
                    <a:pt x="1975" y="131"/>
                  </a:lnTo>
                  <a:lnTo>
                    <a:pt x="1967" y="131"/>
                  </a:lnTo>
                  <a:lnTo>
                    <a:pt x="1965" y="131"/>
                  </a:lnTo>
                  <a:lnTo>
                    <a:pt x="1962" y="131"/>
                  </a:lnTo>
                  <a:lnTo>
                    <a:pt x="1960" y="137"/>
                  </a:lnTo>
                  <a:lnTo>
                    <a:pt x="1961" y="136"/>
                  </a:lnTo>
                  <a:lnTo>
                    <a:pt x="1963" y="137"/>
                  </a:lnTo>
                  <a:lnTo>
                    <a:pt x="1964" y="138"/>
                  </a:lnTo>
                  <a:lnTo>
                    <a:pt x="1965" y="139"/>
                  </a:lnTo>
                  <a:lnTo>
                    <a:pt x="1964" y="140"/>
                  </a:lnTo>
                  <a:lnTo>
                    <a:pt x="1962" y="141"/>
                  </a:lnTo>
                  <a:lnTo>
                    <a:pt x="1960" y="141"/>
                  </a:lnTo>
                  <a:lnTo>
                    <a:pt x="1958" y="146"/>
                  </a:lnTo>
                  <a:lnTo>
                    <a:pt x="1958" y="148"/>
                  </a:lnTo>
                  <a:lnTo>
                    <a:pt x="1959" y="149"/>
                  </a:lnTo>
                  <a:lnTo>
                    <a:pt x="1960" y="148"/>
                  </a:lnTo>
                  <a:lnTo>
                    <a:pt x="1961" y="151"/>
                  </a:lnTo>
                  <a:lnTo>
                    <a:pt x="1962" y="153"/>
                  </a:lnTo>
                  <a:lnTo>
                    <a:pt x="1963" y="156"/>
                  </a:lnTo>
                  <a:lnTo>
                    <a:pt x="1964" y="157"/>
                  </a:lnTo>
                  <a:lnTo>
                    <a:pt x="1963" y="158"/>
                  </a:lnTo>
                  <a:lnTo>
                    <a:pt x="1962" y="159"/>
                  </a:lnTo>
                  <a:lnTo>
                    <a:pt x="1961" y="160"/>
                  </a:lnTo>
                  <a:lnTo>
                    <a:pt x="1959" y="161"/>
                  </a:lnTo>
                  <a:lnTo>
                    <a:pt x="1956" y="162"/>
                  </a:lnTo>
                  <a:lnTo>
                    <a:pt x="1954" y="160"/>
                  </a:lnTo>
                  <a:lnTo>
                    <a:pt x="1955" y="161"/>
                  </a:lnTo>
                  <a:lnTo>
                    <a:pt x="1954" y="161"/>
                  </a:lnTo>
                  <a:lnTo>
                    <a:pt x="1953" y="162"/>
                  </a:lnTo>
                  <a:lnTo>
                    <a:pt x="1950" y="162"/>
                  </a:lnTo>
                  <a:lnTo>
                    <a:pt x="1950" y="154"/>
                  </a:lnTo>
                  <a:lnTo>
                    <a:pt x="1947" y="154"/>
                  </a:lnTo>
                  <a:lnTo>
                    <a:pt x="1945" y="154"/>
                  </a:lnTo>
                  <a:lnTo>
                    <a:pt x="1943" y="155"/>
                  </a:lnTo>
                  <a:lnTo>
                    <a:pt x="1943" y="156"/>
                  </a:lnTo>
                  <a:lnTo>
                    <a:pt x="1942" y="157"/>
                  </a:lnTo>
                  <a:lnTo>
                    <a:pt x="1942" y="160"/>
                  </a:lnTo>
                  <a:lnTo>
                    <a:pt x="1942" y="163"/>
                  </a:lnTo>
                  <a:lnTo>
                    <a:pt x="1942" y="164"/>
                  </a:lnTo>
                  <a:lnTo>
                    <a:pt x="1941" y="165"/>
                  </a:lnTo>
                  <a:lnTo>
                    <a:pt x="1940" y="166"/>
                  </a:lnTo>
                  <a:lnTo>
                    <a:pt x="1938" y="167"/>
                  </a:lnTo>
                  <a:lnTo>
                    <a:pt x="1936" y="167"/>
                  </a:lnTo>
                  <a:lnTo>
                    <a:pt x="1933" y="167"/>
                  </a:lnTo>
                  <a:lnTo>
                    <a:pt x="1931" y="167"/>
                  </a:lnTo>
                  <a:lnTo>
                    <a:pt x="1929" y="166"/>
                  </a:lnTo>
                  <a:lnTo>
                    <a:pt x="1926" y="163"/>
                  </a:lnTo>
                  <a:lnTo>
                    <a:pt x="1922" y="160"/>
                  </a:lnTo>
                  <a:lnTo>
                    <a:pt x="1919" y="158"/>
                  </a:lnTo>
                  <a:lnTo>
                    <a:pt x="1916" y="156"/>
                  </a:lnTo>
                  <a:lnTo>
                    <a:pt x="1913" y="156"/>
                  </a:lnTo>
                  <a:lnTo>
                    <a:pt x="1909" y="155"/>
                  </a:lnTo>
                  <a:lnTo>
                    <a:pt x="1906" y="154"/>
                  </a:lnTo>
                  <a:lnTo>
                    <a:pt x="1905" y="153"/>
                  </a:lnTo>
                  <a:lnTo>
                    <a:pt x="1905" y="152"/>
                  </a:lnTo>
                  <a:lnTo>
                    <a:pt x="1905" y="151"/>
                  </a:lnTo>
                  <a:lnTo>
                    <a:pt x="1904" y="150"/>
                  </a:lnTo>
                  <a:lnTo>
                    <a:pt x="1901" y="150"/>
                  </a:lnTo>
                  <a:lnTo>
                    <a:pt x="1898" y="150"/>
                  </a:lnTo>
                  <a:lnTo>
                    <a:pt x="1897" y="151"/>
                  </a:lnTo>
                  <a:lnTo>
                    <a:pt x="1894" y="154"/>
                  </a:lnTo>
                  <a:lnTo>
                    <a:pt x="1891" y="158"/>
                  </a:lnTo>
                  <a:lnTo>
                    <a:pt x="1887" y="159"/>
                  </a:lnTo>
                  <a:lnTo>
                    <a:pt x="1884" y="160"/>
                  </a:lnTo>
                  <a:lnTo>
                    <a:pt x="1877" y="162"/>
                  </a:lnTo>
                  <a:lnTo>
                    <a:pt x="1877" y="160"/>
                  </a:lnTo>
                  <a:lnTo>
                    <a:pt x="1877" y="159"/>
                  </a:lnTo>
                  <a:lnTo>
                    <a:pt x="1878" y="157"/>
                  </a:lnTo>
                  <a:lnTo>
                    <a:pt x="1879" y="155"/>
                  </a:lnTo>
                  <a:lnTo>
                    <a:pt x="1879" y="154"/>
                  </a:lnTo>
                  <a:lnTo>
                    <a:pt x="1879" y="152"/>
                  </a:lnTo>
                  <a:lnTo>
                    <a:pt x="1875" y="152"/>
                  </a:lnTo>
                  <a:lnTo>
                    <a:pt x="1873" y="148"/>
                  </a:lnTo>
                  <a:lnTo>
                    <a:pt x="1871" y="144"/>
                  </a:lnTo>
                  <a:lnTo>
                    <a:pt x="1867" y="165"/>
                  </a:lnTo>
                  <a:lnTo>
                    <a:pt x="1865" y="170"/>
                  </a:lnTo>
                  <a:lnTo>
                    <a:pt x="1863" y="175"/>
                  </a:lnTo>
                  <a:lnTo>
                    <a:pt x="1861" y="179"/>
                  </a:lnTo>
                  <a:lnTo>
                    <a:pt x="1859" y="180"/>
                  </a:lnTo>
                  <a:lnTo>
                    <a:pt x="1858" y="181"/>
                  </a:lnTo>
                  <a:lnTo>
                    <a:pt x="1855" y="182"/>
                  </a:lnTo>
                  <a:lnTo>
                    <a:pt x="1854" y="181"/>
                  </a:lnTo>
                  <a:lnTo>
                    <a:pt x="1853" y="180"/>
                  </a:lnTo>
                  <a:lnTo>
                    <a:pt x="1853" y="178"/>
                  </a:lnTo>
                  <a:lnTo>
                    <a:pt x="1854" y="175"/>
                  </a:lnTo>
                  <a:lnTo>
                    <a:pt x="1854" y="174"/>
                  </a:lnTo>
                  <a:lnTo>
                    <a:pt x="1854" y="173"/>
                  </a:lnTo>
                  <a:lnTo>
                    <a:pt x="1856" y="173"/>
                  </a:lnTo>
                  <a:lnTo>
                    <a:pt x="1856" y="172"/>
                  </a:lnTo>
                  <a:lnTo>
                    <a:pt x="1856" y="171"/>
                  </a:lnTo>
                  <a:lnTo>
                    <a:pt x="1856" y="169"/>
                  </a:lnTo>
                  <a:lnTo>
                    <a:pt x="1854" y="169"/>
                  </a:lnTo>
                  <a:lnTo>
                    <a:pt x="1854" y="170"/>
                  </a:lnTo>
                  <a:lnTo>
                    <a:pt x="1853" y="171"/>
                  </a:lnTo>
                  <a:lnTo>
                    <a:pt x="1850" y="171"/>
                  </a:lnTo>
                  <a:lnTo>
                    <a:pt x="1849" y="170"/>
                  </a:lnTo>
                  <a:lnTo>
                    <a:pt x="1847" y="168"/>
                  </a:lnTo>
                  <a:lnTo>
                    <a:pt x="1845" y="166"/>
                  </a:lnTo>
                  <a:lnTo>
                    <a:pt x="1844" y="166"/>
                  </a:lnTo>
                  <a:lnTo>
                    <a:pt x="1843" y="165"/>
                  </a:lnTo>
                  <a:lnTo>
                    <a:pt x="1840" y="166"/>
                  </a:lnTo>
                  <a:lnTo>
                    <a:pt x="1838" y="166"/>
                  </a:lnTo>
                  <a:lnTo>
                    <a:pt x="1836" y="166"/>
                  </a:lnTo>
                  <a:lnTo>
                    <a:pt x="1833" y="164"/>
                  </a:lnTo>
                  <a:lnTo>
                    <a:pt x="1828" y="158"/>
                  </a:lnTo>
                  <a:lnTo>
                    <a:pt x="1826" y="160"/>
                  </a:lnTo>
                  <a:lnTo>
                    <a:pt x="1824" y="160"/>
                  </a:lnTo>
                  <a:lnTo>
                    <a:pt x="1823" y="160"/>
                  </a:lnTo>
                  <a:lnTo>
                    <a:pt x="1822" y="160"/>
                  </a:lnTo>
                  <a:lnTo>
                    <a:pt x="1822" y="154"/>
                  </a:lnTo>
                  <a:lnTo>
                    <a:pt x="1825" y="154"/>
                  </a:lnTo>
                  <a:lnTo>
                    <a:pt x="1827" y="154"/>
                  </a:lnTo>
                  <a:lnTo>
                    <a:pt x="1828" y="154"/>
                  </a:lnTo>
                  <a:lnTo>
                    <a:pt x="1829" y="154"/>
                  </a:lnTo>
                  <a:lnTo>
                    <a:pt x="1829" y="153"/>
                  </a:lnTo>
                  <a:lnTo>
                    <a:pt x="1828" y="152"/>
                  </a:lnTo>
                  <a:lnTo>
                    <a:pt x="1826" y="150"/>
                  </a:lnTo>
                  <a:lnTo>
                    <a:pt x="1827" y="150"/>
                  </a:lnTo>
                  <a:lnTo>
                    <a:pt x="1824" y="151"/>
                  </a:lnTo>
                  <a:lnTo>
                    <a:pt x="1821" y="152"/>
                  </a:lnTo>
                  <a:lnTo>
                    <a:pt x="1818" y="152"/>
                  </a:lnTo>
                  <a:lnTo>
                    <a:pt x="1818" y="151"/>
                  </a:lnTo>
                  <a:lnTo>
                    <a:pt x="1817" y="148"/>
                  </a:lnTo>
                  <a:lnTo>
                    <a:pt x="1817" y="146"/>
                  </a:lnTo>
                  <a:lnTo>
                    <a:pt x="1817" y="144"/>
                  </a:lnTo>
                  <a:lnTo>
                    <a:pt x="1815" y="143"/>
                  </a:lnTo>
                  <a:lnTo>
                    <a:pt x="1813" y="142"/>
                  </a:lnTo>
                  <a:lnTo>
                    <a:pt x="1809" y="140"/>
                  </a:lnTo>
                  <a:lnTo>
                    <a:pt x="1805" y="139"/>
                  </a:lnTo>
                  <a:lnTo>
                    <a:pt x="1801" y="137"/>
                  </a:lnTo>
                  <a:lnTo>
                    <a:pt x="1799" y="146"/>
                  </a:lnTo>
                  <a:lnTo>
                    <a:pt x="1797" y="144"/>
                  </a:lnTo>
                  <a:lnTo>
                    <a:pt x="1796" y="143"/>
                  </a:lnTo>
                  <a:lnTo>
                    <a:pt x="1796" y="142"/>
                  </a:lnTo>
                  <a:lnTo>
                    <a:pt x="1797" y="140"/>
                  </a:lnTo>
                  <a:lnTo>
                    <a:pt x="1797" y="137"/>
                  </a:lnTo>
                  <a:lnTo>
                    <a:pt x="1797" y="133"/>
                  </a:lnTo>
                  <a:lnTo>
                    <a:pt x="1796" y="133"/>
                  </a:lnTo>
                  <a:lnTo>
                    <a:pt x="1795" y="133"/>
                  </a:lnTo>
                  <a:lnTo>
                    <a:pt x="1795" y="135"/>
                  </a:lnTo>
                  <a:lnTo>
                    <a:pt x="1794" y="139"/>
                  </a:lnTo>
                  <a:lnTo>
                    <a:pt x="1790" y="138"/>
                  </a:lnTo>
                  <a:lnTo>
                    <a:pt x="1786" y="139"/>
                  </a:lnTo>
                  <a:lnTo>
                    <a:pt x="1787" y="138"/>
                  </a:lnTo>
                  <a:lnTo>
                    <a:pt x="1788" y="137"/>
                  </a:lnTo>
                  <a:lnTo>
                    <a:pt x="1789" y="136"/>
                  </a:lnTo>
                  <a:lnTo>
                    <a:pt x="1790" y="135"/>
                  </a:lnTo>
                  <a:lnTo>
                    <a:pt x="1790" y="133"/>
                  </a:lnTo>
                  <a:lnTo>
                    <a:pt x="1789" y="132"/>
                  </a:lnTo>
                  <a:lnTo>
                    <a:pt x="1788" y="131"/>
                  </a:lnTo>
                  <a:lnTo>
                    <a:pt x="1786" y="131"/>
                  </a:lnTo>
                  <a:lnTo>
                    <a:pt x="1782" y="131"/>
                  </a:lnTo>
                  <a:lnTo>
                    <a:pt x="1780" y="132"/>
                  </a:lnTo>
                  <a:lnTo>
                    <a:pt x="1779" y="133"/>
                  </a:lnTo>
                  <a:lnTo>
                    <a:pt x="1776" y="135"/>
                  </a:lnTo>
                  <a:lnTo>
                    <a:pt x="1774" y="131"/>
                  </a:lnTo>
                  <a:lnTo>
                    <a:pt x="1773" y="129"/>
                  </a:lnTo>
                  <a:lnTo>
                    <a:pt x="1774" y="129"/>
                  </a:lnTo>
                  <a:lnTo>
                    <a:pt x="1773" y="128"/>
                  </a:lnTo>
                  <a:lnTo>
                    <a:pt x="1773" y="127"/>
                  </a:lnTo>
                  <a:lnTo>
                    <a:pt x="1776" y="127"/>
                  </a:lnTo>
                  <a:lnTo>
                    <a:pt x="1771" y="126"/>
                  </a:lnTo>
                  <a:lnTo>
                    <a:pt x="1770" y="126"/>
                  </a:lnTo>
                  <a:lnTo>
                    <a:pt x="1770" y="125"/>
                  </a:lnTo>
                  <a:lnTo>
                    <a:pt x="1772" y="123"/>
                  </a:lnTo>
                  <a:lnTo>
                    <a:pt x="1772" y="119"/>
                  </a:lnTo>
                  <a:lnTo>
                    <a:pt x="1776" y="119"/>
                  </a:lnTo>
                  <a:lnTo>
                    <a:pt x="1779" y="118"/>
                  </a:lnTo>
                  <a:lnTo>
                    <a:pt x="1783" y="117"/>
                  </a:lnTo>
                  <a:lnTo>
                    <a:pt x="1784" y="116"/>
                  </a:lnTo>
                  <a:lnTo>
                    <a:pt x="1786" y="116"/>
                  </a:lnTo>
                  <a:lnTo>
                    <a:pt x="1787" y="115"/>
                  </a:lnTo>
                  <a:lnTo>
                    <a:pt x="1788" y="113"/>
                  </a:lnTo>
                  <a:lnTo>
                    <a:pt x="1790" y="110"/>
                  </a:lnTo>
                  <a:lnTo>
                    <a:pt x="1794" y="104"/>
                  </a:lnTo>
                  <a:lnTo>
                    <a:pt x="1786" y="102"/>
                  </a:lnTo>
                  <a:lnTo>
                    <a:pt x="1780" y="100"/>
                  </a:lnTo>
                  <a:lnTo>
                    <a:pt x="1778" y="99"/>
                  </a:lnTo>
                  <a:lnTo>
                    <a:pt x="1776" y="96"/>
                  </a:lnTo>
                  <a:lnTo>
                    <a:pt x="1773" y="94"/>
                  </a:lnTo>
                  <a:lnTo>
                    <a:pt x="1772" y="93"/>
                  </a:lnTo>
                  <a:lnTo>
                    <a:pt x="1770" y="93"/>
                  </a:lnTo>
                  <a:lnTo>
                    <a:pt x="1766" y="92"/>
                  </a:lnTo>
                  <a:lnTo>
                    <a:pt x="1761" y="93"/>
                  </a:lnTo>
                  <a:lnTo>
                    <a:pt x="1755" y="96"/>
                  </a:lnTo>
                  <a:lnTo>
                    <a:pt x="1754" y="97"/>
                  </a:lnTo>
                  <a:lnTo>
                    <a:pt x="1752" y="96"/>
                  </a:lnTo>
                  <a:lnTo>
                    <a:pt x="1751" y="96"/>
                  </a:lnTo>
                  <a:lnTo>
                    <a:pt x="1749" y="96"/>
                  </a:lnTo>
                  <a:lnTo>
                    <a:pt x="1749" y="98"/>
                  </a:lnTo>
                  <a:lnTo>
                    <a:pt x="1748" y="100"/>
                  </a:lnTo>
                  <a:lnTo>
                    <a:pt x="1747" y="104"/>
                  </a:lnTo>
                  <a:lnTo>
                    <a:pt x="1749" y="106"/>
                  </a:lnTo>
                  <a:lnTo>
                    <a:pt x="1751" y="108"/>
                  </a:lnTo>
                  <a:lnTo>
                    <a:pt x="1753" y="110"/>
                  </a:lnTo>
                  <a:lnTo>
                    <a:pt x="1753" y="114"/>
                  </a:lnTo>
                  <a:lnTo>
                    <a:pt x="1757" y="115"/>
                  </a:lnTo>
                  <a:lnTo>
                    <a:pt x="1760" y="115"/>
                  </a:lnTo>
                  <a:lnTo>
                    <a:pt x="1767" y="116"/>
                  </a:lnTo>
                  <a:lnTo>
                    <a:pt x="1766" y="117"/>
                  </a:lnTo>
                  <a:lnTo>
                    <a:pt x="1766" y="119"/>
                  </a:lnTo>
                  <a:lnTo>
                    <a:pt x="1765" y="120"/>
                  </a:lnTo>
                  <a:lnTo>
                    <a:pt x="1764" y="120"/>
                  </a:lnTo>
                  <a:lnTo>
                    <a:pt x="1763" y="119"/>
                  </a:lnTo>
                  <a:lnTo>
                    <a:pt x="1765" y="123"/>
                  </a:lnTo>
                  <a:lnTo>
                    <a:pt x="1765" y="124"/>
                  </a:lnTo>
                  <a:lnTo>
                    <a:pt x="1765" y="125"/>
                  </a:lnTo>
                  <a:lnTo>
                    <a:pt x="1764" y="125"/>
                  </a:lnTo>
                  <a:lnTo>
                    <a:pt x="1761" y="124"/>
                  </a:lnTo>
                  <a:lnTo>
                    <a:pt x="1757" y="123"/>
                  </a:lnTo>
                  <a:lnTo>
                    <a:pt x="1759" y="129"/>
                  </a:lnTo>
                  <a:lnTo>
                    <a:pt x="1755" y="129"/>
                  </a:lnTo>
                  <a:lnTo>
                    <a:pt x="1751" y="129"/>
                  </a:lnTo>
                  <a:lnTo>
                    <a:pt x="1748" y="128"/>
                  </a:lnTo>
                  <a:lnTo>
                    <a:pt x="1744" y="126"/>
                  </a:lnTo>
                  <a:lnTo>
                    <a:pt x="1738" y="123"/>
                  </a:lnTo>
                  <a:lnTo>
                    <a:pt x="1735" y="122"/>
                  </a:lnTo>
                  <a:lnTo>
                    <a:pt x="1732" y="121"/>
                  </a:lnTo>
                  <a:lnTo>
                    <a:pt x="1728" y="121"/>
                  </a:lnTo>
                  <a:lnTo>
                    <a:pt x="1725" y="121"/>
                  </a:lnTo>
                  <a:lnTo>
                    <a:pt x="1720" y="122"/>
                  </a:lnTo>
                  <a:lnTo>
                    <a:pt x="1718" y="123"/>
                  </a:lnTo>
                  <a:lnTo>
                    <a:pt x="1715" y="123"/>
                  </a:lnTo>
                  <a:lnTo>
                    <a:pt x="1712" y="124"/>
                  </a:lnTo>
                  <a:lnTo>
                    <a:pt x="1709" y="123"/>
                  </a:lnTo>
                  <a:lnTo>
                    <a:pt x="1707" y="119"/>
                  </a:lnTo>
                  <a:lnTo>
                    <a:pt x="1702" y="119"/>
                  </a:lnTo>
                  <a:lnTo>
                    <a:pt x="1698" y="118"/>
                  </a:lnTo>
                  <a:lnTo>
                    <a:pt x="1694" y="118"/>
                  </a:lnTo>
                  <a:lnTo>
                    <a:pt x="1694" y="117"/>
                  </a:lnTo>
                  <a:lnTo>
                    <a:pt x="1692" y="115"/>
                  </a:lnTo>
                  <a:lnTo>
                    <a:pt x="1690" y="114"/>
                  </a:lnTo>
                  <a:lnTo>
                    <a:pt x="1691" y="111"/>
                  </a:lnTo>
                  <a:lnTo>
                    <a:pt x="1692" y="110"/>
                  </a:lnTo>
                  <a:lnTo>
                    <a:pt x="1692" y="108"/>
                  </a:lnTo>
                  <a:lnTo>
                    <a:pt x="1693" y="108"/>
                  </a:lnTo>
                  <a:lnTo>
                    <a:pt x="1692" y="105"/>
                  </a:lnTo>
                  <a:lnTo>
                    <a:pt x="1690" y="100"/>
                  </a:lnTo>
                  <a:lnTo>
                    <a:pt x="1681" y="101"/>
                  </a:lnTo>
                  <a:lnTo>
                    <a:pt x="1676" y="102"/>
                  </a:lnTo>
                  <a:lnTo>
                    <a:pt x="1671" y="102"/>
                  </a:lnTo>
                  <a:lnTo>
                    <a:pt x="1669" y="98"/>
                  </a:lnTo>
                  <a:lnTo>
                    <a:pt x="1667" y="98"/>
                  </a:lnTo>
                  <a:lnTo>
                    <a:pt x="1666" y="99"/>
                  </a:lnTo>
                  <a:lnTo>
                    <a:pt x="1664" y="100"/>
                  </a:lnTo>
                  <a:lnTo>
                    <a:pt x="1661" y="100"/>
                  </a:lnTo>
                  <a:lnTo>
                    <a:pt x="1655" y="96"/>
                  </a:lnTo>
                  <a:lnTo>
                    <a:pt x="1652" y="97"/>
                  </a:lnTo>
                  <a:lnTo>
                    <a:pt x="1648" y="98"/>
                  </a:lnTo>
                  <a:lnTo>
                    <a:pt x="1640" y="103"/>
                  </a:lnTo>
                  <a:lnTo>
                    <a:pt x="1632" y="108"/>
                  </a:lnTo>
                  <a:lnTo>
                    <a:pt x="1630" y="110"/>
                  </a:lnTo>
                  <a:lnTo>
                    <a:pt x="1628" y="112"/>
                  </a:lnTo>
                  <a:lnTo>
                    <a:pt x="1628" y="113"/>
                  </a:lnTo>
                  <a:lnTo>
                    <a:pt x="1629" y="115"/>
                  </a:lnTo>
                  <a:lnTo>
                    <a:pt x="1629" y="116"/>
                  </a:lnTo>
                  <a:lnTo>
                    <a:pt x="1628" y="118"/>
                  </a:lnTo>
                  <a:lnTo>
                    <a:pt x="1627" y="118"/>
                  </a:lnTo>
                  <a:lnTo>
                    <a:pt x="1627" y="117"/>
                  </a:lnTo>
                  <a:lnTo>
                    <a:pt x="1626" y="112"/>
                  </a:lnTo>
                  <a:lnTo>
                    <a:pt x="1627" y="102"/>
                  </a:lnTo>
                  <a:lnTo>
                    <a:pt x="1625" y="103"/>
                  </a:lnTo>
                  <a:lnTo>
                    <a:pt x="1624" y="103"/>
                  </a:lnTo>
                  <a:lnTo>
                    <a:pt x="1623" y="102"/>
                  </a:lnTo>
                  <a:lnTo>
                    <a:pt x="1622" y="100"/>
                  </a:lnTo>
                  <a:lnTo>
                    <a:pt x="1621" y="100"/>
                  </a:lnTo>
                  <a:lnTo>
                    <a:pt x="1621" y="108"/>
                  </a:lnTo>
                  <a:lnTo>
                    <a:pt x="1611" y="107"/>
                  </a:lnTo>
                  <a:lnTo>
                    <a:pt x="1606" y="106"/>
                  </a:lnTo>
                  <a:lnTo>
                    <a:pt x="1605" y="105"/>
                  </a:lnTo>
                  <a:lnTo>
                    <a:pt x="1603" y="103"/>
                  </a:lnTo>
                  <a:lnTo>
                    <a:pt x="1600" y="96"/>
                  </a:lnTo>
                  <a:lnTo>
                    <a:pt x="1600" y="97"/>
                  </a:lnTo>
                  <a:lnTo>
                    <a:pt x="1599" y="99"/>
                  </a:lnTo>
                  <a:lnTo>
                    <a:pt x="1598" y="102"/>
                  </a:lnTo>
                  <a:lnTo>
                    <a:pt x="1594" y="101"/>
                  </a:lnTo>
                  <a:lnTo>
                    <a:pt x="1590" y="98"/>
                  </a:lnTo>
                  <a:lnTo>
                    <a:pt x="1587" y="103"/>
                  </a:lnTo>
                  <a:lnTo>
                    <a:pt x="1585" y="107"/>
                  </a:lnTo>
                  <a:lnTo>
                    <a:pt x="1584" y="108"/>
                  </a:lnTo>
                  <a:lnTo>
                    <a:pt x="1584" y="109"/>
                  </a:lnTo>
                  <a:lnTo>
                    <a:pt x="1585" y="111"/>
                  </a:lnTo>
                  <a:lnTo>
                    <a:pt x="1587" y="112"/>
                  </a:lnTo>
                  <a:lnTo>
                    <a:pt x="1590" y="114"/>
                  </a:lnTo>
                  <a:lnTo>
                    <a:pt x="1589" y="115"/>
                  </a:lnTo>
                  <a:lnTo>
                    <a:pt x="1588" y="116"/>
                  </a:lnTo>
                  <a:lnTo>
                    <a:pt x="1588" y="118"/>
                  </a:lnTo>
                  <a:lnTo>
                    <a:pt x="1583" y="116"/>
                  </a:lnTo>
                  <a:lnTo>
                    <a:pt x="1579" y="114"/>
                  </a:lnTo>
                  <a:lnTo>
                    <a:pt x="1578" y="114"/>
                  </a:lnTo>
                  <a:lnTo>
                    <a:pt x="1579" y="115"/>
                  </a:lnTo>
                  <a:lnTo>
                    <a:pt x="1580" y="117"/>
                  </a:lnTo>
                  <a:lnTo>
                    <a:pt x="1580" y="118"/>
                  </a:lnTo>
                  <a:lnTo>
                    <a:pt x="1580" y="119"/>
                  </a:lnTo>
                  <a:lnTo>
                    <a:pt x="1579" y="120"/>
                  </a:lnTo>
                  <a:lnTo>
                    <a:pt x="1579" y="121"/>
                  </a:lnTo>
                  <a:lnTo>
                    <a:pt x="1576" y="123"/>
                  </a:lnTo>
                  <a:lnTo>
                    <a:pt x="1572" y="124"/>
                  </a:lnTo>
                  <a:lnTo>
                    <a:pt x="1569" y="124"/>
                  </a:lnTo>
                  <a:lnTo>
                    <a:pt x="1565" y="124"/>
                  </a:lnTo>
                  <a:lnTo>
                    <a:pt x="1558" y="124"/>
                  </a:lnTo>
                  <a:lnTo>
                    <a:pt x="1554" y="124"/>
                  </a:lnTo>
                  <a:lnTo>
                    <a:pt x="1550" y="125"/>
                  </a:lnTo>
                  <a:lnTo>
                    <a:pt x="1548" y="131"/>
                  </a:lnTo>
                  <a:lnTo>
                    <a:pt x="1537" y="132"/>
                  </a:lnTo>
                  <a:lnTo>
                    <a:pt x="1525" y="133"/>
                  </a:lnTo>
                  <a:lnTo>
                    <a:pt x="1536" y="131"/>
                  </a:lnTo>
                  <a:lnTo>
                    <a:pt x="1542" y="129"/>
                  </a:lnTo>
                  <a:lnTo>
                    <a:pt x="1544" y="128"/>
                  </a:lnTo>
                  <a:lnTo>
                    <a:pt x="1546" y="127"/>
                  </a:lnTo>
                  <a:lnTo>
                    <a:pt x="1546" y="126"/>
                  </a:lnTo>
                  <a:lnTo>
                    <a:pt x="1547" y="123"/>
                  </a:lnTo>
                  <a:lnTo>
                    <a:pt x="1547" y="121"/>
                  </a:lnTo>
                  <a:lnTo>
                    <a:pt x="1548" y="119"/>
                  </a:lnTo>
                  <a:lnTo>
                    <a:pt x="1549" y="119"/>
                  </a:lnTo>
                  <a:lnTo>
                    <a:pt x="1551" y="118"/>
                  </a:lnTo>
                  <a:lnTo>
                    <a:pt x="1553" y="118"/>
                  </a:lnTo>
                  <a:lnTo>
                    <a:pt x="1556" y="118"/>
                  </a:lnTo>
                  <a:lnTo>
                    <a:pt x="1559" y="118"/>
                  </a:lnTo>
                  <a:lnTo>
                    <a:pt x="1564" y="116"/>
                  </a:lnTo>
                  <a:lnTo>
                    <a:pt x="1568" y="113"/>
                  </a:lnTo>
                  <a:lnTo>
                    <a:pt x="1571" y="110"/>
                  </a:lnTo>
                  <a:lnTo>
                    <a:pt x="1574" y="107"/>
                  </a:lnTo>
                  <a:lnTo>
                    <a:pt x="1577" y="103"/>
                  </a:lnTo>
                  <a:lnTo>
                    <a:pt x="1579" y="98"/>
                  </a:lnTo>
                  <a:lnTo>
                    <a:pt x="1582" y="89"/>
                  </a:lnTo>
                  <a:lnTo>
                    <a:pt x="1597" y="85"/>
                  </a:lnTo>
                  <a:lnTo>
                    <a:pt x="1611" y="82"/>
                  </a:lnTo>
                  <a:lnTo>
                    <a:pt x="1625" y="78"/>
                  </a:lnTo>
                  <a:lnTo>
                    <a:pt x="1638" y="73"/>
                  </a:lnTo>
                  <a:lnTo>
                    <a:pt x="1637" y="71"/>
                  </a:lnTo>
                  <a:lnTo>
                    <a:pt x="1637" y="68"/>
                  </a:lnTo>
                  <a:lnTo>
                    <a:pt x="1637" y="66"/>
                  </a:lnTo>
                  <a:lnTo>
                    <a:pt x="1636" y="64"/>
                  </a:lnTo>
                  <a:lnTo>
                    <a:pt x="1634" y="64"/>
                  </a:lnTo>
                  <a:lnTo>
                    <a:pt x="1631" y="62"/>
                  </a:lnTo>
                  <a:lnTo>
                    <a:pt x="1629" y="59"/>
                  </a:lnTo>
                  <a:lnTo>
                    <a:pt x="1628" y="57"/>
                  </a:lnTo>
                  <a:lnTo>
                    <a:pt x="1630" y="57"/>
                  </a:lnTo>
                  <a:lnTo>
                    <a:pt x="1634" y="58"/>
                  </a:lnTo>
                  <a:lnTo>
                    <a:pt x="1638" y="56"/>
                  </a:lnTo>
                  <a:lnTo>
                    <a:pt x="1638" y="53"/>
                  </a:lnTo>
                  <a:lnTo>
                    <a:pt x="1638" y="50"/>
                  </a:lnTo>
                  <a:lnTo>
                    <a:pt x="1636" y="49"/>
                  </a:lnTo>
                  <a:lnTo>
                    <a:pt x="1634" y="47"/>
                  </a:lnTo>
                  <a:lnTo>
                    <a:pt x="1632" y="46"/>
                  </a:lnTo>
                  <a:lnTo>
                    <a:pt x="1630" y="45"/>
                  </a:lnTo>
                  <a:lnTo>
                    <a:pt x="1630" y="43"/>
                  </a:lnTo>
                  <a:lnTo>
                    <a:pt x="1631" y="41"/>
                  </a:lnTo>
                  <a:lnTo>
                    <a:pt x="1631" y="38"/>
                  </a:lnTo>
                  <a:lnTo>
                    <a:pt x="1630" y="37"/>
                  </a:lnTo>
                  <a:lnTo>
                    <a:pt x="1628" y="36"/>
                  </a:lnTo>
                  <a:lnTo>
                    <a:pt x="1625" y="36"/>
                  </a:lnTo>
                  <a:lnTo>
                    <a:pt x="1621" y="36"/>
                  </a:lnTo>
                  <a:lnTo>
                    <a:pt x="1620" y="36"/>
                  </a:lnTo>
                  <a:lnTo>
                    <a:pt x="1619" y="35"/>
                  </a:lnTo>
                  <a:lnTo>
                    <a:pt x="1617" y="32"/>
                  </a:lnTo>
                  <a:lnTo>
                    <a:pt x="1615" y="29"/>
                  </a:lnTo>
                  <a:lnTo>
                    <a:pt x="1613" y="22"/>
                  </a:lnTo>
                  <a:lnTo>
                    <a:pt x="1611" y="21"/>
                  </a:lnTo>
                  <a:lnTo>
                    <a:pt x="1610" y="21"/>
                  </a:lnTo>
                  <a:lnTo>
                    <a:pt x="1609" y="20"/>
                  </a:lnTo>
                  <a:lnTo>
                    <a:pt x="1607" y="20"/>
                  </a:lnTo>
                  <a:lnTo>
                    <a:pt x="1606" y="20"/>
                  </a:lnTo>
                  <a:lnTo>
                    <a:pt x="1604" y="20"/>
                  </a:lnTo>
                  <a:lnTo>
                    <a:pt x="1601" y="22"/>
                  </a:lnTo>
                  <a:lnTo>
                    <a:pt x="1597" y="24"/>
                  </a:lnTo>
                  <a:lnTo>
                    <a:pt x="1594" y="25"/>
                  </a:lnTo>
                  <a:lnTo>
                    <a:pt x="1592" y="22"/>
                  </a:lnTo>
                  <a:lnTo>
                    <a:pt x="1584" y="22"/>
                  </a:lnTo>
                  <a:lnTo>
                    <a:pt x="1581" y="22"/>
                  </a:lnTo>
                  <a:lnTo>
                    <a:pt x="1577" y="23"/>
                  </a:lnTo>
                  <a:lnTo>
                    <a:pt x="1574" y="25"/>
                  </a:lnTo>
                  <a:lnTo>
                    <a:pt x="1572" y="26"/>
                  </a:lnTo>
                  <a:lnTo>
                    <a:pt x="1568" y="30"/>
                  </a:lnTo>
                  <a:lnTo>
                    <a:pt x="1565" y="33"/>
                  </a:lnTo>
                  <a:lnTo>
                    <a:pt x="1563" y="35"/>
                  </a:lnTo>
                  <a:lnTo>
                    <a:pt x="1561" y="35"/>
                  </a:lnTo>
                  <a:lnTo>
                    <a:pt x="1558" y="35"/>
                  </a:lnTo>
                  <a:lnTo>
                    <a:pt x="1556" y="35"/>
                  </a:lnTo>
                  <a:lnTo>
                    <a:pt x="1554" y="35"/>
                  </a:lnTo>
                  <a:lnTo>
                    <a:pt x="1559" y="22"/>
                  </a:lnTo>
                  <a:lnTo>
                    <a:pt x="1552" y="20"/>
                  </a:lnTo>
                  <a:lnTo>
                    <a:pt x="1547" y="19"/>
                  </a:lnTo>
                  <a:lnTo>
                    <a:pt x="1534" y="18"/>
                  </a:lnTo>
                  <a:lnTo>
                    <a:pt x="1537" y="12"/>
                  </a:lnTo>
                  <a:lnTo>
                    <a:pt x="1538" y="10"/>
                  </a:lnTo>
                  <a:lnTo>
                    <a:pt x="1540" y="8"/>
                  </a:lnTo>
                  <a:lnTo>
                    <a:pt x="1535" y="5"/>
                  </a:lnTo>
                  <a:lnTo>
                    <a:pt x="1529" y="3"/>
                  </a:lnTo>
                  <a:lnTo>
                    <a:pt x="1522" y="1"/>
                  </a:lnTo>
                  <a:lnTo>
                    <a:pt x="1519" y="0"/>
                  </a:lnTo>
                  <a:lnTo>
                    <a:pt x="1515" y="0"/>
                  </a:lnTo>
                  <a:lnTo>
                    <a:pt x="1513" y="6"/>
                  </a:lnTo>
                  <a:lnTo>
                    <a:pt x="1506" y="6"/>
                  </a:lnTo>
                  <a:lnTo>
                    <a:pt x="1501" y="6"/>
                  </a:lnTo>
                  <a:lnTo>
                    <a:pt x="1498" y="6"/>
                  </a:lnTo>
                  <a:lnTo>
                    <a:pt x="1496" y="7"/>
                  </a:lnTo>
                  <a:lnTo>
                    <a:pt x="1492" y="11"/>
                  </a:lnTo>
                  <a:lnTo>
                    <a:pt x="1489" y="13"/>
                  </a:lnTo>
                  <a:lnTo>
                    <a:pt x="1484" y="16"/>
                  </a:lnTo>
                  <a:lnTo>
                    <a:pt x="1484" y="20"/>
                  </a:lnTo>
                  <a:lnTo>
                    <a:pt x="1483" y="20"/>
                  </a:lnTo>
                  <a:lnTo>
                    <a:pt x="1481" y="20"/>
                  </a:lnTo>
                  <a:lnTo>
                    <a:pt x="1480" y="20"/>
                  </a:lnTo>
                  <a:lnTo>
                    <a:pt x="1479" y="22"/>
                  </a:lnTo>
                  <a:lnTo>
                    <a:pt x="1479" y="23"/>
                  </a:lnTo>
                  <a:lnTo>
                    <a:pt x="1479" y="24"/>
                  </a:lnTo>
                  <a:lnTo>
                    <a:pt x="1479" y="26"/>
                  </a:lnTo>
                  <a:lnTo>
                    <a:pt x="1479" y="27"/>
                  </a:lnTo>
                  <a:lnTo>
                    <a:pt x="1483" y="31"/>
                  </a:lnTo>
                  <a:lnTo>
                    <a:pt x="1486" y="35"/>
                  </a:lnTo>
                  <a:lnTo>
                    <a:pt x="1478" y="33"/>
                  </a:lnTo>
                  <a:lnTo>
                    <a:pt x="1471" y="32"/>
                  </a:lnTo>
                  <a:lnTo>
                    <a:pt x="1456" y="31"/>
                  </a:lnTo>
                  <a:lnTo>
                    <a:pt x="1458" y="37"/>
                  </a:lnTo>
                  <a:lnTo>
                    <a:pt x="1460" y="39"/>
                  </a:lnTo>
                  <a:lnTo>
                    <a:pt x="1453" y="39"/>
                  </a:lnTo>
                  <a:lnTo>
                    <a:pt x="1450" y="39"/>
                  </a:lnTo>
                  <a:lnTo>
                    <a:pt x="1448" y="41"/>
                  </a:lnTo>
                  <a:lnTo>
                    <a:pt x="1448" y="43"/>
                  </a:lnTo>
                  <a:lnTo>
                    <a:pt x="1448" y="46"/>
                  </a:lnTo>
                  <a:lnTo>
                    <a:pt x="1442" y="50"/>
                  </a:lnTo>
                  <a:lnTo>
                    <a:pt x="1436" y="52"/>
                  </a:lnTo>
                  <a:lnTo>
                    <a:pt x="1435" y="52"/>
                  </a:lnTo>
                  <a:lnTo>
                    <a:pt x="1434" y="51"/>
                  </a:lnTo>
                  <a:lnTo>
                    <a:pt x="1435" y="50"/>
                  </a:lnTo>
                  <a:lnTo>
                    <a:pt x="1435" y="48"/>
                  </a:lnTo>
                  <a:lnTo>
                    <a:pt x="1431" y="50"/>
                  </a:lnTo>
                  <a:lnTo>
                    <a:pt x="1425" y="52"/>
                  </a:lnTo>
                  <a:lnTo>
                    <a:pt x="1421" y="56"/>
                  </a:lnTo>
                  <a:lnTo>
                    <a:pt x="1420" y="56"/>
                  </a:lnTo>
                  <a:lnTo>
                    <a:pt x="1419" y="56"/>
                  </a:lnTo>
                  <a:lnTo>
                    <a:pt x="1419" y="54"/>
                  </a:lnTo>
                  <a:lnTo>
                    <a:pt x="1420" y="51"/>
                  </a:lnTo>
                  <a:lnTo>
                    <a:pt x="1421" y="50"/>
                  </a:lnTo>
                  <a:lnTo>
                    <a:pt x="1423" y="49"/>
                  </a:lnTo>
                  <a:lnTo>
                    <a:pt x="1425" y="47"/>
                  </a:lnTo>
                  <a:lnTo>
                    <a:pt x="1429" y="45"/>
                  </a:lnTo>
                  <a:lnTo>
                    <a:pt x="1430" y="44"/>
                  </a:lnTo>
                  <a:lnTo>
                    <a:pt x="1429" y="42"/>
                  </a:lnTo>
                  <a:lnTo>
                    <a:pt x="1428" y="41"/>
                  </a:lnTo>
                  <a:lnTo>
                    <a:pt x="1425" y="39"/>
                  </a:lnTo>
                  <a:lnTo>
                    <a:pt x="1428" y="39"/>
                  </a:lnTo>
                  <a:lnTo>
                    <a:pt x="1431" y="39"/>
                  </a:lnTo>
                  <a:lnTo>
                    <a:pt x="1433" y="33"/>
                  </a:lnTo>
                  <a:lnTo>
                    <a:pt x="1417" y="33"/>
                  </a:lnTo>
                  <a:lnTo>
                    <a:pt x="1417" y="39"/>
                  </a:lnTo>
                  <a:lnTo>
                    <a:pt x="1420" y="39"/>
                  </a:lnTo>
                  <a:lnTo>
                    <a:pt x="1423" y="39"/>
                  </a:lnTo>
                  <a:lnTo>
                    <a:pt x="1422" y="41"/>
                  </a:lnTo>
                  <a:lnTo>
                    <a:pt x="1421" y="42"/>
                  </a:lnTo>
                  <a:lnTo>
                    <a:pt x="1421" y="43"/>
                  </a:lnTo>
                  <a:lnTo>
                    <a:pt x="1415" y="43"/>
                  </a:lnTo>
                  <a:lnTo>
                    <a:pt x="1408" y="43"/>
                  </a:lnTo>
                  <a:lnTo>
                    <a:pt x="1401" y="43"/>
                  </a:lnTo>
                  <a:lnTo>
                    <a:pt x="1394" y="43"/>
                  </a:lnTo>
                  <a:lnTo>
                    <a:pt x="1393" y="41"/>
                  </a:lnTo>
                  <a:lnTo>
                    <a:pt x="1391" y="41"/>
                  </a:lnTo>
                  <a:lnTo>
                    <a:pt x="1389" y="41"/>
                  </a:lnTo>
                  <a:lnTo>
                    <a:pt x="1389" y="46"/>
                  </a:lnTo>
                  <a:lnTo>
                    <a:pt x="1380" y="48"/>
                  </a:lnTo>
                  <a:lnTo>
                    <a:pt x="1373" y="49"/>
                  </a:lnTo>
                  <a:lnTo>
                    <a:pt x="1366" y="51"/>
                  </a:lnTo>
                  <a:lnTo>
                    <a:pt x="1358" y="52"/>
                  </a:lnTo>
                  <a:lnTo>
                    <a:pt x="1352" y="52"/>
                  </a:lnTo>
                  <a:lnTo>
                    <a:pt x="1348" y="51"/>
                  </a:lnTo>
                  <a:lnTo>
                    <a:pt x="1345" y="50"/>
                  </a:lnTo>
                  <a:lnTo>
                    <a:pt x="1342" y="50"/>
                  </a:lnTo>
                  <a:lnTo>
                    <a:pt x="1341" y="51"/>
                  </a:lnTo>
                  <a:lnTo>
                    <a:pt x="1338" y="53"/>
                  </a:lnTo>
                  <a:lnTo>
                    <a:pt x="1336" y="55"/>
                  </a:lnTo>
                  <a:lnTo>
                    <a:pt x="1335" y="56"/>
                  </a:lnTo>
                  <a:lnTo>
                    <a:pt x="1330" y="57"/>
                  </a:lnTo>
                  <a:lnTo>
                    <a:pt x="1325" y="57"/>
                  </a:lnTo>
                  <a:lnTo>
                    <a:pt x="1316" y="56"/>
                  </a:lnTo>
                  <a:lnTo>
                    <a:pt x="1319" y="58"/>
                  </a:lnTo>
                  <a:lnTo>
                    <a:pt x="1320" y="60"/>
                  </a:lnTo>
                  <a:lnTo>
                    <a:pt x="1321" y="61"/>
                  </a:lnTo>
                  <a:lnTo>
                    <a:pt x="1321" y="63"/>
                  </a:lnTo>
                  <a:lnTo>
                    <a:pt x="1320" y="63"/>
                  </a:lnTo>
                  <a:lnTo>
                    <a:pt x="1320" y="64"/>
                  </a:lnTo>
                  <a:lnTo>
                    <a:pt x="1318" y="65"/>
                  </a:lnTo>
                  <a:lnTo>
                    <a:pt x="1316" y="66"/>
                  </a:lnTo>
                  <a:lnTo>
                    <a:pt x="1315" y="71"/>
                  </a:lnTo>
                  <a:lnTo>
                    <a:pt x="1314" y="75"/>
                  </a:lnTo>
                  <a:lnTo>
                    <a:pt x="1312" y="72"/>
                  </a:lnTo>
                  <a:lnTo>
                    <a:pt x="1310" y="70"/>
                  </a:lnTo>
                  <a:lnTo>
                    <a:pt x="1307" y="69"/>
                  </a:lnTo>
                  <a:lnTo>
                    <a:pt x="1303" y="70"/>
                  </a:lnTo>
                  <a:lnTo>
                    <a:pt x="1301" y="72"/>
                  </a:lnTo>
                  <a:lnTo>
                    <a:pt x="1301" y="73"/>
                  </a:lnTo>
                  <a:lnTo>
                    <a:pt x="1302" y="73"/>
                  </a:lnTo>
                  <a:lnTo>
                    <a:pt x="1307" y="76"/>
                  </a:lnTo>
                  <a:lnTo>
                    <a:pt x="1308" y="76"/>
                  </a:lnTo>
                  <a:lnTo>
                    <a:pt x="1308" y="77"/>
                  </a:lnTo>
                  <a:lnTo>
                    <a:pt x="1309" y="78"/>
                  </a:lnTo>
                  <a:lnTo>
                    <a:pt x="1310" y="79"/>
                  </a:lnTo>
                  <a:lnTo>
                    <a:pt x="1306" y="80"/>
                  </a:lnTo>
                  <a:lnTo>
                    <a:pt x="1302" y="81"/>
                  </a:lnTo>
                  <a:lnTo>
                    <a:pt x="1306" y="86"/>
                  </a:lnTo>
                  <a:lnTo>
                    <a:pt x="1309" y="92"/>
                  </a:lnTo>
                  <a:lnTo>
                    <a:pt x="1316" y="104"/>
                  </a:lnTo>
                  <a:lnTo>
                    <a:pt x="1311" y="104"/>
                  </a:lnTo>
                  <a:lnTo>
                    <a:pt x="1306" y="104"/>
                  </a:lnTo>
                  <a:lnTo>
                    <a:pt x="1307" y="103"/>
                  </a:lnTo>
                  <a:lnTo>
                    <a:pt x="1308" y="101"/>
                  </a:lnTo>
                  <a:lnTo>
                    <a:pt x="1308" y="99"/>
                  </a:lnTo>
                  <a:lnTo>
                    <a:pt x="1308" y="98"/>
                  </a:lnTo>
                  <a:lnTo>
                    <a:pt x="1306" y="97"/>
                  </a:lnTo>
                  <a:lnTo>
                    <a:pt x="1304" y="96"/>
                  </a:lnTo>
                  <a:lnTo>
                    <a:pt x="1304" y="94"/>
                  </a:lnTo>
                  <a:lnTo>
                    <a:pt x="1302" y="94"/>
                  </a:lnTo>
                  <a:lnTo>
                    <a:pt x="1300" y="95"/>
                  </a:lnTo>
                  <a:lnTo>
                    <a:pt x="1295" y="96"/>
                  </a:lnTo>
                  <a:lnTo>
                    <a:pt x="1290" y="97"/>
                  </a:lnTo>
                  <a:lnTo>
                    <a:pt x="1287" y="98"/>
                  </a:lnTo>
                  <a:lnTo>
                    <a:pt x="1283" y="98"/>
                  </a:lnTo>
                  <a:lnTo>
                    <a:pt x="1281" y="96"/>
                  </a:lnTo>
                  <a:lnTo>
                    <a:pt x="1279" y="95"/>
                  </a:lnTo>
                  <a:lnTo>
                    <a:pt x="1277" y="94"/>
                  </a:lnTo>
                  <a:lnTo>
                    <a:pt x="1243" y="100"/>
                  </a:lnTo>
                  <a:lnTo>
                    <a:pt x="1237" y="104"/>
                  </a:lnTo>
                  <a:lnTo>
                    <a:pt x="1235" y="109"/>
                  </a:lnTo>
                  <a:lnTo>
                    <a:pt x="1233" y="114"/>
                  </a:lnTo>
                  <a:lnTo>
                    <a:pt x="1233" y="120"/>
                  </a:lnTo>
                  <a:lnTo>
                    <a:pt x="1233" y="126"/>
                  </a:lnTo>
                  <a:lnTo>
                    <a:pt x="1234" y="128"/>
                  </a:lnTo>
                  <a:lnTo>
                    <a:pt x="1235" y="131"/>
                  </a:lnTo>
                  <a:lnTo>
                    <a:pt x="1236" y="133"/>
                  </a:lnTo>
                  <a:lnTo>
                    <a:pt x="1237" y="135"/>
                  </a:lnTo>
                  <a:lnTo>
                    <a:pt x="1239" y="137"/>
                  </a:lnTo>
                  <a:lnTo>
                    <a:pt x="1240" y="139"/>
                  </a:lnTo>
                  <a:lnTo>
                    <a:pt x="1242" y="140"/>
                  </a:lnTo>
                  <a:lnTo>
                    <a:pt x="1245" y="141"/>
                  </a:lnTo>
                  <a:lnTo>
                    <a:pt x="1247" y="140"/>
                  </a:lnTo>
                  <a:lnTo>
                    <a:pt x="1249" y="140"/>
                  </a:lnTo>
                  <a:lnTo>
                    <a:pt x="1251" y="139"/>
                  </a:lnTo>
                  <a:lnTo>
                    <a:pt x="1252" y="139"/>
                  </a:lnTo>
                  <a:lnTo>
                    <a:pt x="1254" y="140"/>
                  </a:lnTo>
                  <a:lnTo>
                    <a:pt x="1255" y="142"/>
                  </a:lnTo>
                  <a:lnTo>
                    <a:pt x="1257" y="145"/>
                  </a:lnTo>
                  <a:lnTo>
                    <a:pt x="1258" y="146"/>
                  </a:lnTo>
                  <a:lnTo>
                    <a:pt x="1260" y="148"/>
                  </a:lnTo>
                  <a:lnTo>
                    <a:pt x="1263" y="148"/>
                  </a:lnTo>
                  <a:lnTo>
                    <a:pt x="1268" y="150"/>
                  </a:lnTo>
                  <a:lnTo>
                    <a:pt x="1266" y="156"/>
                  </a:lnTo>
                  <a:lnTo>
                    <a:pt x="1265" y="161"/>
                  </a:lnTo>
                  <a:lnTo>
                    <a:pt x="1264" y="173"/>
                  </a:lnTo>
                  <a:lnTo>
                    <a:pt x="1265" y="174"/>
                  </a:lnTo>
                  <a:lnTo>
                    <a:pt x="1266" y="175"/>
                  </a:lnTo>
                  <a:lnTo>
                    <a:pt x="1266" y="179"/>
                  </a:lnTo>
                  <a:lnTo>
                    <a:pt x="1267" y="179"/>
                  </a:lnTo>
                  <a:lnTo>
                    <a:pt x="1267" y="181"/>
                  </a:lnTo>
                  <a:lnTo>
                    <a:pt x="1266" y="183"/>
                  </a:lnTo>
                  <a:lnTo>
                    <a:pt x="1266" y="185"/>
                  </a:lnTo>
                  <a:lnTo>
                    <a:pt x="1264" y="185"/>
                  </a:lnTo>
                  <a:lnTo>
                    <a:pt x="1262" y="185"/>
                  </a:lnTo>
                  <a:lnTo>
                    <a:pt x="1260" y="184"/>
                  </a:lnTo>
                  <a:lnTo>
                    <a:pt x="1258" y="185"/>
                  </a:lnTo>
                  <a:lnTo>
                    <a:pt x="1258" y="190"/>
                  </a:lnTo>
                  <a:lnTo>
                    <a:pt x="1264" y="195"/>
                  </a:lnTo>
                  <a:lnTo>
                    <a:pt x="1269" y="198"/>
                  </a:lnTo>
                  <a:lnTo>
                    <a:pt x="1271" y="198"/>
                  </a:lnTo>
                  <a:lnTo>
                    <a:pt x="1273" y="198"/>
                  </a:lnTo>
                  <a:lnTo>
                    <a:pt x="1275" y="197"/>
                  </a:lnTo>
                  <a:lnTo>
                    <a:pt x="1276" y="195"/>
                  </a:lnTo>
                  <a:lnTo>
                    <a:pt x="1277" y="194"/>
                  </a:lnTo>
                  <a:lnTo>
                    <a:pt x="1281" y="194"/>
                  </a:lnTo>
                  <a:lnTo>
                    <a:pt x="1284" y="195"/>
                  </a:lnTo>
                  <a:lnTo>
                    <a:pt x="1287" y="197"/>
                  </a:lnTo>
                  <a:lnTo>
                    <a:pt x="1291" y="198"/>
                  </a:lnTo>
                  <a:lnTo>
                    <a:pt x="1293" y="208"/>
                  </a:lnTo>
                  <a:lnTo>
                    <a:pt x="1289" y="208"/>
                  </a:lnTo>
                  <a:lnTo>
                    <a:pt x="1287" y="200"/>
                  </a:lnTo>
                  <a:lnTo>
                    <a:pt x="1275" y="200"/>
                  </a:lnTo>
                  <a:lnTo>
                    <a:pt x="1260" y="200"/>
                  </a:lnTo>
                  <a:lnTo>
                    <a:pt x="1259" y="198"/>
                  </a:lnTo>
                  <a:lnTo>
                    <a:pt x="1259" y="196"/>
                  </a:lnTo>
                  <a:lnTo>
                    <a:pt x="1258" y="192"/>
                  </a:lnTo>
                  <a:lnTo>
                    <a:pt x="1252" y="189"/>
                  </a:lnTo>
                  <a:lnTo>
                    <a:pt x="1250" y="187"/>
                  </a:lnTo>
                  <a:lnTo>
                    <a:pt x="1249" y="187"/>
                  </a:lnTo>
                  <a:lnTo>
                    <a:pt x="1250" y="189"/>
                  </a:lnTo>
                  <a:lnTo>
                    <a:pt x="1248" y="189"/>
                  </a:lnTo>
                  <a:lnTo>
                    <a:pt x="1247" y="189"/>
                  </a:lnTo>
                  <a:lnTo>
                    <a:pt x="1248" y="190"/>
                  </a:lnTo>
                  <a:lnTo>
                    <a:pt x="1246" y="192"/>
                  </a:lnTo>
                  <a:lnTo>
                    <a:pt x="1243" y="192"/>
                  </a:lnTo>
                  <a:lnTo>
                    <a:pt x="1245" y="181"/>
                  </a:lnTo>
                  <a:lnTo>
                    <a:pt x="1248" y="170"/>
                  </a:lnTo>
                  <a:lnTo>
                    <a:pt x="1250" y="166"/>
                  </a:lnTo>
                  <a:lnTo>
                    <a:pt x="1252" y="161"/>
                  </a:lnTo>
                  <a:lnTo>
                    <a:pt x="1255" y="157"/>
                  </a:lnTo>
                  <a:lnTo>
                    <a:pt x="1258" y="152"/>
                  </a:lnTo>
                  <a:lnTo>
                    <a:pt x="1247" y="150"/>
                  </a:lnTo>
                  <a:lnTo>
                    <a:pt x="1237" y="148"/>
                  </a:lnTo>
                  <a:lnTo>
                    <a:pt x="1239" y="152"/>
                  </a:lnTo>
                  <a:lnTo>
                    <a:pt x="1235" y="152"/>
                  </a:lnTo>
                  <a:lnTo>
                    <a:pt x="1229" y="141"/>
                  </a:lnTo>
                  <a:lnTo>
                    <a:pt x="1228" y="140"/>
                  </a:lnTo>
                  <a:lnTo>
                    <a:pt x="1227" y="141"/>
                  </a:lnTo>
                  <a:lnTo>
                    <a:pt x="1227" y="142"/>
                  </a:lnTo>
                  <a:lnTo>
                    <a:pt x="1225" y="142"/>
                  </a:lnTo>
                  <a:lnTo>
                    <a:pt x="1221" y="139"/>
                  </a:lnTo>
                  <a:lnTo>
                    <a:pt x="1215" y="137"/>
                  </a:lnTo>
                  <a:lnTo>
                    <a:pt x="1210" y="136"/>
                  </a:lnTo>
                  <a:lnTo>
                    <a:pt x="1204" y="136"/>
                  </a:lnTo>
                  <a:lnTo>
                    <a:pt x="1198" y="139"/>
                  </a:lnTo>
                  <a:lnTo>
                    <a:pt x="1195" y="141"/>
                  </a:lnTo>
                  <a:lnTo>
                    <a:pt x="1194" y="142"/>
                  </a:lnTo>
                  <a:lnTo>
                    <a:pt x="1194" y="143"/>
                  </a:lnTo>
                  <a:lnTo>
                    <a:pt x="1194" y="144"/>
                  </a:lnTo>
                  <a:lnTo>
                    <a:pt x="1195" y="144"/>
                  </a:lnTo>
                  <a:lnTo>
                    <a:pt x="1197" y="145"/>
                  </a:lnTo>
                  <a:lnTo>
                    <a:pt x="1200" y="144"/>
                  </a:lnTo>
                  <a:lnTo>
                    <a:pt x="1201" y="146"/>
                  </a:lnTo>
                  <a:lnTo>
                    <a:pt x="1202" y="148"/>
                  </a:lnTo>
                  <a:lnTo>
                    <a:pt x="1200" y="149"/>
                  </a:lnTo>
                  <a:lnTo>
                    <a:pt x="1200" y="150"/>
                  </a:lnTo>
                  <a:lnTo>
                    <a:pt x="1199" y="152"/>
                  </a:lnTo>
                  <a:lnTo>
                    <a:pt x="1198" y="154"/>
                  </a:lnTo>
                  <a:lnTo>
                    <a:pt x="1194" y="154"/>
                  </a:lnTo>
                  <a:lnTo>
                    <a:pt x="1192" y="153"/>
                  </a:lnTo>
                  <a:lnTo>
                    <a:pt x="1193" y="152"/>
                  </a:lnTo>
                  <a:lnTo>
                    <a:pt x="1187" y="148"/>
                  </a:lnTo>
                  <a:lnTo>
                    <a:pt x="1184" y="148"/>
                  </a:lnTo>
                  <a:lnTo>
                    <a:pt x="1182" y="148"/>
                  </a:lnTo>
                  <a:lnTo>
                    <a:pt x="1179" y="148"/>
                  </a:lnTo>
                  <a:lnTo>
                    <a:pt x="1177" y="153"/>
                  </a:lnTo>
                  <a:lnTo>
                    <a:pt x="1174" y="158"/>
                  </a:lnTo>
                  <a:lnTo>
                    <a:pt x="1176" y="158"/>
                  </a:lnTo>
                  <a:lnTo>
                    <a:pt x="1179" y="158"/>
                  </a:lnTo>
                  <a:lnTo>
                    <a:pt x="1185" y="162"/>
                  </a:lnTo>
                  <a:lnTo>
                    <a:pt x="1188" y="163"/>
                  </a:lnTo>
                  <a:lnTo>
                    <a:pt x="1191" y="166"/>
                  </a:lnTo>
                  <a:lnTo>
                    <a:pt x="1193" y="168"/>
                  </a:lnTo>
                  <a:lnTo>
                    <a:pt x="1194" y="170"/>
                  </a:lnTo>
                  <a:lnTo>
                    <a:pt x="1194" y="171"/>
                  </a:lnTo>
                  <a:lnTo>
                    <a:pt x="1193" y="171"/>
                  </a:lnTo>
                  <a:lnTo>
                    <a:pt x="1192" y="172"/>
                  </a:lnTo>
                  <a:lnTo>
                    <a:pt x="1189" y="173"/>
                  </a:lnTo>
                  <a:lnTo>
                    <a:pt x="1186" y="173"/>
                  </a:lnTo>
                  <a:lnTo>
                    <a:pt x="1179" y="173"/>
                  </a:lnTo>
                  <a:lnTo>
                    <a:pt x="1178" y="171"/>
                  </a:lnTo>
                  <a:lnTo>
                    <a:pt x="1177" y="170"/>
                  </a:lnTo>
                  <a:lnTo>
                    <a:pt x="1175" y="169"/>
                  </a:lnTo>
                  <a:lnTo>
                    <a:pt x="1174" y="170"/>
                  </a:lnTo>
                  <a:lnTo>
                    <a:pt x="1171" y="171"/>
                  </a:lnTo>
                  <a:lnTo>
                    <a:pt x="1168" y="173"/>
                  </a:lnTo>
                  <a:lnTo>
                    <a:pt x="1166" y="173"/>
                  </a:lnTo>
                  <a:lnTo>
                    <a:pt x="1164" y="172"/>
                  </a:lnTo>
                  <a:lnTo>
                    <a:pt x="1163" y="170"/>
                  </a:lnTo>
                  <a:lnTo>
                    <a:pt x="1160" y="167"/>
                  </a:lnTo>
                  <a:lnTo>
                    <a:pt x="1160" y="164"/>
                  </a:lnTo>
                  <a:lnTo>
                    <a:pt x="1160" y="158"/>
                  </a:lnTo>
                  <a:lnTo>
                    <a:pt x="1156" y="154"/>
                  </a:lnTo>
                  <a:lnTo>
                    <a:pt x="1156" y="151"/>
                  </a:lnTo>
                  <a:lnTo>
                    <a:pt x="1156" y="148"/>
                  </a:lnTo>
                  <a:lnTo>
                    <a:pt x="1157" y="142"/>
                  </a:lnTo>
                  <a:lnTo>
                    <a:pt x="1159" y="135"/>
                  </a:lnTo>
                  <a:lnTo>
                    <a:pt x="1159" y="132"/>
                  </a:lnTo>
                  <a:lnTo>
                    <a:pt x="1158" y="129"/>
                  </a:lnTo>
                  <a:lnTo>
                    <a:pt x="1150" y="123"/>
                  </a:lnTo>
                  <a:lnTo>
                    <a:pt x="1153" y="135"/>
                  </a:lnTo>
                  <a:lnTo>
                    <a:pt x="1153" y="142"/>
                  </a:lnTo>
                  <a:lnTo>
                    <a:pt x="1152" y="148"/>
                  </a:lnTo>
                  <a:lnTo>
                    <a:pt x="1152" y="150"/>
                  </a:lnTo>
                  <a:lnTo>
                    <a:pt x="1151" y="151"/>
                  </a:lnTo>
                  <a:lnTo>
                    <a:pt x="1148" y="154"/>
                  </a:lnTo>
                  <a:lnTo>
                    <a:pt x="1145" y="156"/>
                  </a:lnTo>
                  <a:lnTo>
                    <a:pt x="1143" y="158"/>
                  </a:lnTo>
                  <a:lnTo>
                    <a:pt x="1142" y="160"/>
                  </a:lnTo>
                  <a:lnTo>
                    <a:pt x="1142" y="162"/>
                  </a:lnTo>
                  <a:lnTo>
                    <a:pt x="1142" y="165"/>
                  </a:lnTo>
                  <a:lnTo>
                    <a:pt x="1141" y="167"/>
                  </a:lnTo>
                  <a:lnTo>
                    <a:pt x="1139" y="170"/>
                  </a:lnTo>
                  <a:lnTo>
                    <a:pt x="1138" y="171"/>
                  </a:lnTo>
                  <a:lnTo>
                    <a:pt x="1137" y="171"/>
                  </a:lnTo>
                  <a:lnTo>
                    <a:pt x="1142" y="177"/>
                  </a:lnTo>
                  <a:lnTo>
                    <a:pt x="1147" y="183"/>
                  </a:lnTo>
                  <a:lnTo>
                    <a:pt x="1147" y="187"/>
                  </a:lnTo>
                  <a:lnTo>
                    <a:pt x="1146" y="189"/>
                  </a:lnTo>
                  <a:lnTo>
                    <a:pt x="1145" y="190"/>
                  </a:lnTo>
                  <a:lnTo>
                    <a:pt x="1144" y="192"/>
                  </a:lnTo>
                  <a:lnTo>
                    <a:pt x="1143" y="194"/>
                  </a:lnTo>
                  <a:lnTo>
                    <a:pt x="1143" y="199"/>
                  </a:lnTo>
                  <a:lnTo>
                    <a:pt x="1144" y="204"/>
                  </a:lnTo>
                  <a:lnTo>
                    <a:pt x="1147" y="214"/>
                  </a:lnTo>
                  <a:lnTo>
                    <a:pt x="1153" y="213"/>
                  </a:lnTo>
                  <a:lnTo>
                    <a:pt x="1160" y="212"/>
                  </a:lnTo>
                  <a:lnTo>
                    <a:pt x="1162" y="210"/>
                  </a:lnTo>
                  <a:lnTo>
                    <a:pt x="1164" y="209"/>
                  </a:lnTo>
                  <a:lnTo>
                    <a:pt x="1166" y="207"/>
                  </a:lnTo>
                  <a:lnTo>
                    <a:pt x="1168" y="206"/>
                  </a:lnTo>
                  <a:lnTo>
                    <a:pt x="1169" y="206"/>
                  </a:lnTo>
                  <a:lnTo>
                    <a:pt x="1172" y="208"/>
                  </a:lnTo>
                  <a:lnTo>
                    <a:pt x="1175" y="210"/>
                  </a:lnTo>
                  <a:lnTo>
                    <a:pt x="1177" y="210"/>
                  </a:lnTo>
                  <a:lnTo>
                    <a:pt x="1177" y="209"/>
                  </a:lnTo>
                  <a:lnTo>
                    <a:pt x="1177" y="208"/>
                  </a:lnTo>
                  <a:lnTo>
                    <a:pt x="1178" y="208"/>
                  </a:lnTo>
                  <a:lnTo>
                    <a:pt x="1179" y="208"/>
                  </a:lnTo>
                  <a:lnTo>
                    <a:pt x="1181" y="208"/>
                  </a:lnTo>
                  <a:lnTo>
                    <a:pt x="1183" y="209"/>
                  </a:lnTo>
                  <a:lnTo>
                    <a:pt x="1186" y="211"/>
                  </a:lnTo>
                  <a:lnTo>
                    <a:pt x="1189" y="214"/>
                  </a:lnTo>
                  <a:lnTo>
                    <a:pt x="1192" y="218"/>
                  </a:lnTo>
                  <a:lnTo>
                    <a:pt x="1195" y="222"/>
                  </a:lnTo>
                  <a:lnTo>
                    <a:pt x="1197" y="226"/>
                  </a:lnTo>
                  <a:lnTo>
                    <a:pt x="1200" y="233"/>
                  </a:lnTo>
                  <a:lnTo>
                    <a:pt x="1196" y="236"/>
                  </a:lnTo>
                  <a:lnTo>
                    <a:pt x="1193" y="238"/>
                  </a:lnTo>
                  <a:lnTo>
                    <a:pt x="1192" y="240"/>
                  </a:lnTo>
                  <a:lnTo>
                    <a:pt x="1193" y="242"/>
                  </a:lnTo>
                  <a:lnTo>
                    <a:pt x="1193" y="244"/>
                  </a:lnTo>
                  <a:lnTo>
                    <a:pt x="1193" y="246"/>
                  </a:lnTo>
                  <a:lnTo>
                    <a:pt x="1195" y="248"/>
                  </a:lnTo>
                  <a:lnTo>
                    <a:pt x="1196" y="248"/>
                  </a:lnTo>
                  <a:lnTo>
                    <a:pt x="1197" y="250"/>
                  </a:lnTo>
                  <a:lnTo>
                    <a:pt x="1206" y="252"/>
                  </a:lnTo>
                  <a:lnTo>
                    <a:pt x="1210" y="253"/>
                  </a:lnTo>
                  <a:lnTo>
                    <a:pt x="1216" y="254"/>
                  </a:lnTo>
                  <a:lnTo>
                    <a:pt x="1216" y="256"/>
                  </a:lnTo>
                  <a:lnTo>
                    <a:pt x="1218" y="258"/>
                  </a:lnTo>
                  <a:lnTo>
                    <a:pt x="1211" y="257"/>
                  </a:lnTo>
                  <a:lnTo>
                    <a:pt x="1206" y="256"/>
                  </a:lnTo>
                  <a:lnTo>
                    <a:pt x="1201" y="255"/>
                  </a:lnTo>
                  <a:lnTo>
                    <a:pt x="1195" y="254"/>
                  </a:lnTo>
                  <a:lnTo>
                    <a:pt x="1195" y="260"/>
                  </a:lnTo>
                  <a:lnTo>
                    <a:pt x="1194" y="260"/>
                  </a:lnTo>
                  <a:lnTo>
                    <a:pt x="1193" y="259"/>
                  </a:lnTo>
                  <a:lnTo>
                    <a:pt x="1192" y="258"/>
                  </a:lnTo>
                  <a:lnTo>
                    <a:pt x="1191" y="257"/>
                  </a:lnTo>
                  <a:lnTo>
                    <a:pt x="1191" y="256"/>
                  </a:lnTo>
                  <a:lnTo>
                    <a:pt x="1185" y="254"/>
                  </a:lnTo>
                  <a:lnTo>
                    <a:pt x="1186" y="246"/>
                  </a:lnTo>
                  <a:lnTo>
                    <a:pt x="1186" y="241"/>
                  </a:lnTo>
                  <a:lnTo>
                    <a:pt x="1186" y="236"/>
                  </a:lnTo>
                  <a:lnTo>
                    <a:pt x="1186" y="232"/>
                  </a:lnTo>
                  <a:lnTo>
                    <a:pt x="1183" y="224"/>
                  </a:lnTo>
                  <a:lnTo>
                    <a:pt x="1179" y="214"/>
                  </a:lnTo>
                  <a:lnTo>
                    <a:pt x="1171" y="216"/>
                  </a:lnTo>
                  <a:lnTo>
                    <a:pt x="1162" y="219"/>
                  </a:lnTo>
                  <a:lnTo>
                    <a:pt x="1158" y="221"/>
                  </a:lnTo>
                  <a:lnTo>
                    <a:pt x="1154" y="223"/>
                  </a:lnTo>
                  <a:lnTo>
                    <a:pt x="1152" y="226"/>
                  </a:lnTo>
                  <a:lnTo>
                    <a:pt x="1151" y="227"/>
                  </a:lnTo>
                  <a:lnTo>
                    <a:pt x="1150" y="229"/>
                  </a:lnTo>
                  <a:lnTo>
                    <a:pt x="1151" y="230"/>
                  </a:lnTo>
                  <a:lnTo>
                    <a:pt x="1151" y="232"/>
                  </a:lnTo>
                  <a:lnTo>
                    <a:pt x="1152" y="233"/>
                  </a:lnTo>
                  <a:lnTo>
                    <a:pt x="1153" y="234"/>
                  </a:lnTo>
                  <a:lnTo>
                    <a:pt x="1154" y="235"/>
                  </a:lnTo>
                  <a:lnTo>
                    <a:pt x="1154" y="236"/>
                  </a:lnTo>
                  <a:lnTo>
                    <a:pt x="1153" y="237"/>
                  </a:lnTo>
                  <a:lnTo>
                    <a:pt x="1153" y="240"/>
                  </a:lnTo>
                  <a:lnTo>
                    <a:pt x="1152" y="240"/>
                  </a:lnTo>
                  <a:lnTo>
                    <a:pt x="1151" y="250"/>
                  </a:lnTo>
                  <a:lnTo>
                    <a:pt x="1149" y="256"/>
                  </a:lnTo>
                  <a:lnTo>
                    <a:pt x="1147" y="261"/>
                  </a:lnTo>
                  <a:lnTo>
                    <a:pt x="1146" y="262"/>
                  </a:lnTo>
                  <a:lnTo>
                    <a:pt x="1144" y="264"/>
                  </a:lnTo>
                  <a:lnTo>
                    <a:pt x="1141" y="266"/>
                  </a:lnTo>
                  <a:lnTo>
                    <a:pt x="1137" y="268"/>
                  </a:lnTo>
                  <a:lnTo>
                    <a:pt x="1124" y="273"/>
                  </a:lnTo>
                  <a:lnTo>
                    <a:pt x="1124" y="274"/>
                  </a:lnTo>
                  <a:lnTo>
                    <a:pt x="1125" y="274"/>
                  </a:lnTo>
                  <a:lnTo>
                    <a:pt x="1127" y="275"/>
                  </a:lnTo>
                  <a:lnTo>
                    <a:pt x="1128" y="276"/>
                  </a:lnTo>
                  <a:lnTo>
                    <a:pt x="1129" y="276"/>
                  </a:lnTo>
                  <a:lnTo>
                    <a:pt x="1129" y="277"/>
                  </a:lnTo>
                  <a:lnTo>
                    <a:pt x="1130" y="280"/>
                  </a:lnTo>
                  <a:lnTo>
                    <a:pt x="1131" y="284"/>
                  </a:lnTo>
                  <a:lnTo>
                    <a:pt x="1131" y="290"/>
                  </a:lnTo>
                  <a:lnTo>
                    <a:pt x="1130" y="290"/>
                  </a:lnTo>
                  <a:lnTo>
                    <a:pt x="1129" y="290"/>
                  </a:lnTo>
                  <a:lnTo>
                    <a:pt x="1127" y="290"/>
                  </a:lnTo>
                  <a:lnTo>
                    <a:pt x="1126" y="290"/>
                  </a:lnTo>
                  <a:lnTo>
                    <a:pt x="1123" y="285"/>
                  </a:lnTo>
                  <a:lnTo>
                    <a:pt x="1121" y="281"/>
                  </a:lnTo>
                  <a:lnTo>
                    <a:pt x="1120" y="279"/>
                  </a:lnTo>
                  <a:lnTo>
                    <a:pt x="1117" y="278"/>
                  </a:lnTo>
                  <a:lnTo>
                    <a:pt x="1115" y="277"/>
                  </a:lnTo>
                  <a:lnTo>
                    <a:pt x="1110" y="278"/>
                  </a:lnTo>
                  <a:lnTo>
                    <a:pt x="1106" y="279"/>
                  </a:lnTo>
                  <a:lnTo>
                    <a:pt x="1101" y="279"/>
                  </a:lnTo>
                  <a:lnTo>
                    <a:pt x="1099" y="278"/>
                  </a:lnTo>
                  <a:lnTo>
                    <a:pt x="1097" y="277"/>
                  </a:lnTo>
                  <a:lnTo>
                    <a:pt x="1093" y="275"/>
                  </a:lnTo>
                  <a:lnTo>
                    <a:pt x="1087" y="269"/>
                  </a:lnTo>
                  <a:lnTo>
                    <a:pt x="1097" y="269"/>
                  </a:lnTo>
                  <a:lnTo>
                    <a:pt x="1108" y="269"/>
                  </a:lnTo>
                  <a:lnTo>
                    <a:pt x="1111" y="268"/>
                  </a:lnTo>
                  <a:lnTo>
                    <a:pt x="1114" y="265"/>
                  </a:lnTo>
                  <a:lnTo>
                    <a:pt x="1116" y="263"/>
                  </a:lnTo>
                  <a:lnTo>
                    <a:pt x="1118" y="262"/>
                  </a:lnTo>
                  <a:lnTo>
                    <a:pt x="1119" y="261"/>
                  </a:lnTo>
                  <a:lnTo>
                    <a:pt x="1120" y="262"/>
                  </a:lnTo>
                  <a:lnTo>
                    <a:pt x="1122" y="263"/>
                  </a:lnTo>
                  <a:lnTo>
                    <a:pt x="1123" y="265"/>
                  </a:lnTo>
                  <a:lnTo>
                    <a:pt x="1124" y="265"/>
                  </a:lnTo>
                  <a:lnTo>
                    <a:pt x="1126" y="264"/>
                  </a:lnTo>
                  <a:lnTo>
                    <a:pt x="1127" y="263"/>
                  </a:lnTo>
                  <a:lnTo>
                    <a:pt x="1129" y="263"/>
                  </a:lnTo>
                  <a:lnTo>
                    <a:pt x="1130" y="262"/>
                  </a:lnTo>
                  <a:lnTo>
                    <a:pt x="1130" y="261"/>
                  </a:lnTo>
                  <a:lnTo>
                    <a:pt x="1129" y="260"/>
                  </a:lnTo>
                  <a:lnTo>
                    <a:pt x="1127" y="258"/>
                  </a:lnTo>
                  <a:lnTo>
                    <a:pt x="1137" y="250"/>
                  </a:lnTo>
                  <a:lnTo>
                    <a:pt x="1138" y="239"/>
                  </a:lnTo>
                  <a:lnTo>
                    <a:pt x="1137" y="229"/>
                  </a:lnTo>
                  <a:lnTo>
                    <a:pt x="1136" y="227"/>
                  </a:lnTo>
                  <a:lnTo>
                    <a:pt x="1135" y="226"/>
                  </a:lnTo>
                  <a:lnTo>
                    <a:pt x="1131" y="222"/>
                  </a:lnTo>
                  <a:lnTo>
                    <a:pt x="1128" y="219"/>
                  </a:lnTo>
                  <a:lnTo>
                    <a:pt x="1126" y="217"/>
                  </a:lnTo>
                  <a:lnTo>
                    <a:pt x="1126" y="215"/>
                  </a:lnTo>
                  <a:lnTo>
                    <a:pt x="1125" y="211"/>
                  </a:lnTo>
                  <a:lnTo>
                    <a:pt x="1125" y="207"/>
                  </a:lnTo>
                  <a:lnTo>
                    <a:pt x="1126" y="203"/>
                  </a:lnTo>
                  <a:lnTo>
                    <a:pt x="1128" y="199"/>
                  </a:lnTo>
                  <a:lnTo>
                    <a:pt x="1130" y="192"/>
                  </a:lnTo>
                  <a:lnTo>
                    <a:pt x="1131" y="188"/>
                  </a:lnTo>
                  <a:lnTo>
                    <a:pt x="1131" y="185"/>
                  </a:lnTo>
                  <a:lnTo>
                    <a:pt x="1131" y="184"/>
                  </a:lnTo>
                  <a:lnTo>
                    <a:pt x="1130" y="182"/>
                  </a:lnTo>
                  <a:lnTo>
                    <a:pt x="1127" y="179"/>
                  </a:lnTo>
                  <a:lnTo>
                    <a:pt x="1124" y="176"/>
                  </a:lnTo>
                  <a:lnTo>
                    <a:pt x="1122" y="173"/>
                  </a:lnTo>
                  <a:lnTo>
                    <a:pt x="1121" y="172"/>
                  </a:lnTo>
                  <a:lnTo>
                    <a:pt x="1121" y="171"/>
                  </a:lnTo>
                  <a:lnTo>
                    <a:pt x="1121" y="170"/>
                  </a:lnTo>
                  <a:lnTo>
                    <a:pt x="1121" y="169"/>
                  </a:lnTo>
                  <a:lnTo>
                    <a:pt x="1120" y="167"/>
                  </a:lnTo>
                  <a:lnTo>
                    <a:pt x="1120" y="166"/>
                  </a:lnTo>
                  <a:lnTo>
                    <a:pt x="1120" y="164"/>
                  </a:lnTo>
                  <a:lnTo>
                    <a:pt x="1122" y="160"/>
                  </a:lnTo>
                  <a:lnTo>
                    <a:pt x="1123" y="159"/>
                  </a:lnTo>
                  <a:lnTo>
                    <a:pt x="1125" y="157"/>
                  </a:lnTo>
                  <a:lnTo>
                    <a:pt x="1126" y="155"/>
                  </a:lnTo>
                  <a:lnTo>
                    <a:pt x="1127" y="154"/>
                  </a:lnTo>
                  <a:lnTo>
                    <a:pt x="1128" y="150"/>
                  </a:lnTo>
                  <a:lnTo>
                    <a:pt x="1129" y="146"/>
                  </a:lnTo>
                  <a:lnTo>
                    <a:pt x="1130" y="142"/>
                  </a:lnTo>
                  <a:lnTo>
                    <a:pt x="1130" y="137"/>
                  </a:lnTo>
                  <a:lnTo>
                    <a:pt x="1129" y="128"/>
                  </a:lnTo>
                  <a:lnTo>
                    <a:pt x="1129" y="124"/>
                  </a:lnTo>
                  <a:lnTo>
                    <a:pt x="1127" y="121"/>
                  </a:lnTo>
                  <a:lnTo>
                    <a:pt x="1125" y="119"/>
                  </a:lnTo>
                  <a:lnTo>
                    <a:pt x="1123" y="118"/>
                  </a:lnTo>
                  <a:lnTo>
                    <a:pt x="1121" y="118"/>
                  </a:lnTo>
                  <a:lnTo>
                    <a:pt x="1115" y="117"/>
                  </a:lnTo>
                  <a:lnTo>
                    <a:pt x="1109" y="116"/>
                  </a:lnTo>
                  <a:lnTo>
                    <a:pt x="1103" y="116"/>
                  </a:lnTo>
                  <a:lnTo>
                    <a:pt x="1097" y="117"/>
                  </a:lnTo>
                  <a:lnTo>
                    <a:pt x="1092" y="118"/>
                  </a:lnTo>
                  <a:lnTo>
                    <a:pt x="1089" y="119"/>
                  </a:lnTo>
                  <a:lnTo>
                    <a:pt x="1087" y="121"/>
                  </a:lnTo>
                  <a:lnTo>
                    <a:pt x="1086" y="123"/>
                  </a:lnTo>
                  <a:lnTo>
                    <a:pt x="1085" y="125"/>
                  </a:lnTo>
                  <a:lnTo>
                    <a:pt x="1085" y="127"/>
                  </a:lnTo>
                  <a:lnTo>
                    <a:pt x="1083" y="132"/>
                  </a:lnTo>
                  <a:lnTo>
                    <a:pt x="1082" y="135"/>
                  </a:lnTo>
                  <a:lnTo>
                    <a:pt x="1081" y="137"/>
                  </a:lnTo>
                  <a:lnTo>
                    <a:pt x="1079" y="137"/>
                  </a:lnTo>
                  <a:lnTo>
                    <a:pt x="1077" y="138"/>
                  </a:lnTo>
                  <a:lnTo>
                    <a:pt x="1075" y="141"/>
                  </a:lnTo>
                  <a:lnTo>
                    <a:pt x="1072" y="146"/>
                  </a:lnTo>
                  <a:lnTo>
                    <a:pt x="1070" y="152"/>
                  </a:lnTo>
                  <a:lnTo>
                    <a:pt x="1068" y="154"/>
                  </a:lnTo>
                  <a:lnTo>
                    <a:pt x="1066" y="156"/>
                  </a:lnTo>
                  <a:lnTo>
                    <a:pt x="1064" y="157"/>
                  </a:lnTo>
                  <a:lnTo>
                    <a:pt x="1062" y="157"/>
                  </a:lnTo>
                  <a:lnTo>
                    <a:pt x="1060" y="157"/>
                  </a:lnTo>
                  <a:lnTo>
                    <a:pt x="1059" y="157"/>
                  </a:lnTo>
                  <a:lnTo>
                    <a:pt x="1058" y="158"/>
                  </a:lnTo>
                  <a:lnTo>
                    <a:pt x="1059" y="166"/>
                  </a:lnTo>
                  <a:lnTo>
                    <a:pt x="1061" y="173"/>
                  </a:lnTo>
                  <a:lnTo>
                    <a:pt x="1062" y="179"/>
                  </a:lnTo>
                  <a:lnTo>
                    <a:pt x="1062" y="183"/>
                  </a:lnTo>
                  <a:lnTo>
                    <a:pt x="1062" y="187"/>
                  </a:lnTo>
                  <a:lnTo>
                    <a:pt x="1056" y="189"/>
                  </a:lnTo>
                  <a:lnTo>
                    <a:pt x="1056" y="191"/>
                  </a:lnTo>
                  <a:lnTo>
                    <a:pt x="1056" y="194"/>
                  </a:lnTo>
                  <a:lnTo>
                    <a:pt x="1057" y="197"/>
                  </a:lnTo>
                  <a:lnTo>
                    <a:pt x="1056" y="200"/>
                  </a:lnTo>
                  <a:lnTo>
                    <a:pt x="1061" y="201"/>
                  </a:lnTo>
                  <a:lnTo>
                    <a:pt x="1064" y="201"/>
                  </a:lnTo>
                  <a:lnTo>
                    <a:pt x="1067" y="202"/>
                  </a:lnTo>
                  <a:lnTo>
                    <a:pt x="1070" y="202"/>
                  </a:lnTo>
                  <a:lnTo>
                    <a:pt x="1069" y="212"/>
                  </a:lnTo>
                  <a:lnTo>
                    <a:pt x="1070" y="221"/>
                  </a:lnTo>
                  <a:lnTo>
                    <a:pt x="1076" y="219"/>
                  </a:lnTo>
                  <a:lnTo>
                    <a:pt x="1071" y="230"/>
                  </a:lnTo>
                  <a:lnTo>
                    <a:pt x="1066" y="238"/>
                  </a:lnTo>
                  <a:lnTo>
                    <a:pt x="1063" y="234"/>
                  </a:lnTo>
                  <a:lnTo>
                    <a:pt x="1058" y="227"/>
                  </a:lnTo>
                  <a:lnTo>
                    <a:pt x="1051" y="217"/>
                  </a:lnTo>
                  <a:lnTo>
                    <a:pt x="1049" y="217"/>
                  </a:lnTo>
                  <a:lnTo>
                    <a:pt x="1047" y="217"/>
                  </a:lnTo>
                  <a:lnTo>
                    <a:pt x="1045" y="218"/>
                  </a:lnTo>
                  <a:lnTo>
                    <a:pt x="1043" y="217"/>
                  </a:lnTo>
                  <a:lnTo>
                    <a:pt x="1042" y="217"/>
                  </a:lnTo>
                  <a:lnTo>
                    <a:pt x="1042" y="216"/>
                  </a:lnTo>
                  <a:lnTo>
                    <a:pt x="1042" y="214"/>
                  </a:lnTo>
                  <a:lnTo>
                    <a:pt x="1043" y="212"/>
                  </a:lnTo>
                  <a:lnTo>
                    <a:pt x="1041" y="211"/>
                  </a:lnTo>
                  <a:lnTo>
                    <a:pt x="1039" y="211"/>
                  </a:lnTo>
                  <a:lnTo>
                    <a:pt x="1037" y="212"/>
                  </a:lnTo>
                  <a:lnTo>
                    <a:pt x="1035" y="212"/>
                  </a:lnTo>
                  <a:lnTo>
                    <a:pt x="1034" y="210"/>
                  </a:lnTo>
                  <a:lnTo>
                    <a:pt x="1033" y="209"/>
                  </a:lnTo>
                  <a:lnTo>
                    <a:pt x="1031" y="208"/>
                  </a:lnTo>
                  <a:lnTo>
                    <a:pt x="1031" y="210"/>
                  </a:lnTo>
                  <a:lnTo>
                    <a:pt x="1031" y="213"/>
                  </a:lnTo>
                  <a:lnTo>
                    <a:pt x="1030" y="214"/>
                  </a:lnTo>
                  <a:lnTo>
                    <a:pt x="1030" y="215"/>
                  </a:lnTo>
                  <a:lnTo>
                    <a:pt x="1029" y="216"/>
                  </a:lnTo>
                  <a:lnTo>
                    <a:pt x="1028" y="215"/>
                  </a:lnTo>
                  <a:lnTo>
                    <a:pt x="1027" y="215"/>
                  </a:lnTo>
                  <a:lnTo>
                    <a:pt x="1027" y="213"/>
                  </a:lnTo>
                  <a:lnTo>
                    <a:pt x="1028" y="210"/>
                  </a:lnTo>
                  <a:lnTo>
                    <a:pt x="1030" y="204"/>
                  </a:lnTo>
                  <a:lnTo>
                    <a:pt x="1023" y="203"/>
                  </a:lnTo>
                  <a:lnTo>
                    <a:pt x="1016" y="203"/>
                  </a:lnTo>
                  <a:lnTo>
                    <a:pt x="1005" y="202"/>
                  </a:lnTo>
                  <a:lnTo>
                    <a:pt x="1002" y="200"/>
                  </a:lnTo>
                  <a:lnTo>
                    <a:pt x="1000" y="199"/>
                  </a:lnTo>
                  <a:lnTo>
                    <a:pt x="999" y="198"/>
                  </a:lnTo>
                  <a:lnTo>
                    <a:pt x="998" y="199"/>
                  </a:lnTo>
                  <a:lnTo>
                    <a:pt x="997" y="200"/>
                  </a:lnTo>
                  <a:lnTo>
                    <a:pt x="997" y="204"/>
                  </a:lnTo>
                  <a:lnTo>
                    <a:pt x="978" y="202"/>
                  </a:lnTo>
                  <a:lnTo>
                    <a:pt x="978" y="204"/>
                  </a:lnTo>
                  <a:lnTo>
                    <a:pt x="978" y="205"/>
                  </a:lnTo>
                  <a:lnTo>
                    <a:pt x="976" y="206"/>
                  </a:lnTo>
                  <a:lnTo>
                    <a:pt x="978" y="211"/>
                  </a:lnTo>
                  <a:lnTo>
                    <a:pt x="979" y="215"/>
                  </a:lnTo>
                  <a:lnTo>
                    <a:pt x="980" y="219"/>
                  </a:lnTo>
                  <a:lnTo>
                    <a:pt x="980" y="227"/>
                  </a:lnTo>
                  <a:lnTo>
                    <a:pt x="977" y="228"/>
                  </a:lnTo>
                  <a:lnTo>
                    <a:pt x="974" y="229"/>
                  </a:lnTo>
                  <a:lnTo>
                    <a:pt x="974" y="228"/>
                  </a:lnTo>
                  <a:lnTo>
                    <a:pt x="972" y="227"/>
                  </a:lnTo>
                  <a:lnTo>
                    <a:pt x="970" y="225"/>
                  </a:lnTo>
                  <a:lnTo>
                    <a:pt x="966" y="227"/>
                  </a:lnTo>
                  <a:lnTo>
                    <a:pt x="967" y="232"/>
                  </a:lnTo>
                  <a:lnTo>
                    <a:pt x="966" y="237"/>
                  </a:lnTo>
                  <a:lnTo>
                    <a:pt x="964" y="234"/>
                  </a:lnTo>
                  <a:lnTo>
                    <a:pt x="961" y="231"/>
                  </a:lnTo>
                  <a:lnTo>
                    <a:pt x="959" y="228"/>
                  </a:lnTo>
                  <a:lnTo>
                    <a:pt x="958" y="226"/>
                  </a:lnTo>
                  <a:lnTo>
                    <a:pt x="957" y="223"/>
                  </a:lnTo>
                  <a:lnTo>
                    <a:pt x="958" y="221"/>
                  </a:lnTo>
                  <a:lnTo>
                    <a:pt x="959" y="220"/>
                  </a:lnTo>
                  <a:lnTo>
                    <a:pt x="960" y="219"/>
                  </a:lnTo>
                  <a:lnTo>
                    <a:pt x="943" y="225"/>
                  </a:lnTo>
                  <a:lnTo>
                    <a:pt x="941" y="225"/>
                  </a:lnTo>
                  <a:lnTo>
                    <a:pt x="941" y="224"/>
                  </a:lnTo>
                  <a:lnTo>
                    <a:pt x="941" y="223"/>
                  </a:lnTo>
                  <a:lnTo>
                    <a:pt x="939" y="223"/>
                  </a:lnTo>
                  <a:lnTo>
                    <a:pt x="941" y="226"/>
                  </a:lnTo>
                  <a:lnTo>
                    <a:pt x="942" y="228"/>
                  </a:lnTo>
                  <a:lnTo>
                    <a:pt x="941" y="229"/>
                  </a:lnTo>
                  <a:lnTo>
                    <a:pt x="938" y="229"/>
                  </a:lnTo>
                  <a:lnTo>
                    <a:pt x="935" y="229"/>
                  </a:lnTo>
                  <a:lnTo>
                    <a:pt x="930" y="226"/>
                  </a:lnTo>
                  <a:lnTo>
                    <a:pt x="926" y="224"/>
                  </a:lnTo>
                  <a:lnTo>
                    <a:pt x="923" y="223"/>
                  </a:lnTo>
                  <a:lnTo>
                    <a:pt x="920" y="223"/>
                  </a:lnTo>
                  <a:lnTo>
                    <a:pt x="917" y="225"/>
                  </a:lnTo>
                  <a:lnTo>
                    <a:pt x="913" y="227"/>
                  </a:lnTo>
                  <a:lnTo>
                    <a:pt x="909" y="230"/>
                  </a:lnTo>
                  <a:lnTo>
                    <a:pt x="908" y="231"/>
                  </a:lnTo>
                  <a:lnTo>
                    <a:pt x="909" y="231"/>
                  </a:lnTo>
                  <a:lnTo>
                    <a:pt x="909" y="237"/>
                  </a:lnTo>
                  <a:lnTo>
                    <a:pt x="908" y="237"/>
                  </a:lnTo>
                  <a:lnTo>
                    <a:pt x="907" y="236"/>
                  </a:lnTo>
                  <a:lnTo>
                    <a:pt x="905" y="234"/>
                  </a:lnTo>
                  <a:lnTo>
                    <a:pt x="904" y="232"/>
                  </a:lnTo>
                  <a:lnTo>
                    <a:pt x="903" y="231"/>
                  </a:lnTo>
                  <a:lnTo>
                    <a:pt x="901" y="231"/>
                  </a:lnTo>
                  <a:lnTo>
                    <a:pt x="900" y="232"/>
                  </a:lnTo>
                  <a:lnTo>
                    <a:pt x="900" y="234"/>
                  </a:lnTo>
                  <a:lnTo>
                    <a:pt x="899" y="235"/>
                  </a:lnTo>
                  <a:lnTo>
                    <a:pt x="896" y="235"/>
                  </a:lnTo>
                  <a:lnTo>
                    <a:pt x="892" y="235"/>
                  </a:lnTo>
                  <a:lnTo>
                    <a:pt x="889" y="235"/>
                  </a:lnTo>
                  <a:lnTo>
                    <a:pt x="886" y="235"/>
                  </a:lnTo>
                  <a:lnTo>
                    <a:pt x="886" y="231"/>
                  </a:lnTo>
                  <a:lnTo>
                    <a:pt x="893" y="231"/>
                  </a:lnTo>
                  <a:lnTo>
                    <a:pt x="895" y="230"/>
                  </a:lnTo>
                  <a:lnTo>
                    <a:pt x="893" y="229"/>
                  </a:lnTo>
                  <a:lnTo>
                    <a:pt x="891" y="227"/>
                  </a:lnTo>
                  <a:lnTo>
                    <a:pt x="891" y="225"/>
                  </a:lnTo>
                  <a:lnTo>
                    <a:pt x="891" y="223"/>
                  </a:lnTo>
                  <a:lnTo>
                    <a:pt x="888" y="222"/>
                  </a:lnTo>
                  <a:lnTo>
                    <a:pt x="887" y="222"/>
                  </a:lnTo>
                  <a:lnTo>
                    <a:pt x="886" y="221"/>
                  </a:lnTo>
                  <a:lnTo>
                    <a:pt x="887" y="219"/>
                  </a:lnTo>
                  <a:lnTo>
                    <a:pt x="888" y="218"/>
                  </a:lnTo>
                  <a:lnTo>
                    <a:pt x="887" y="217"/>
                  </a:lnTo>
                  <a:lnTo>
                    <a:pt x="880" y="221"/>
                  </a:lnTo>
                  <a:lnTo>
                    <a:pt x="876" y="223"/>
                  </a:lnTo>
                  <a:lnTo>
                    <a:pt x="874" y="225"/>
                  </a:lnTo>
                  <a:lnTo>
                    <a:pt x="874" y="231"/>
                  </a:lnTo>
                  <a:lnTo>
                    <a:pt x="871" y="229"/>
                  </a:lnTo>
                  <a:lnTo>
                    <a:pt x="868" y="227"/>
                  </a:lnTo>
                  <a:lnTo>
                    <a:pt x="866" y="227"/>
                  </a:lnTo>
                  <a:lnTo>
                    <a:pt x="864" y="227"/>
                  </a:lnTo>
                  <a:lnTo>
                    <a:pt x="863" y="231"/>
                  </a:lnTo>
                  <a:lnTo>
                    <a:pt x="861" y="231"/>
                  </a:lnTo>
                  <a:lnTo>
                    <a:pt x="859" y="231"/>
                  </a:lnTo>
                  <a:lnTo>
                    <a:pt x="855" y="231"/>
                  </a:lnTo>
                  <a:lnTo>
                    <a:pt x="853" y="232"/>
                  </a:lnTo>
                  <a:lnTo>
                    <a:pt x="850" y="233"/>
                  </a:lnTo>
                  <a:lnTo>
                    <a:pt x="845" y="236"/>
                  </a:lnTo>
                  <a:lnTo>
                    <a:pt x="840" y="240"/>
                  </a:lnTo>
                  <a:lnTo>
                    <a:pt x="836" y="242"/>
                  </a:lnTo>
                  <a:lnTo>
                    <a:pt x="834" y="242"/>
                  </a:lnTo>
                  <a:lnTo>
                    <a:pt x="832" y="242"/>
                  </a:lnTo>
                  <a:lnTo>
                    <a:pt x="830" y="242"/>
                  </a:lnTo>
                  <a:lnTo>
                    <a:pt x="828" y="242"/>
                  </a:lnTo>
                  <a:lnTo>
                    <a:pt x="828" y="246"/>
                  </a:lnTo>
                  <a:lnTo>
                    <a:pt x="826" y="247"/>
                  </a:lnTo>
                  <a:lnTo>
                    <a:pt x="823" y="247"/>
                  </a:lnTo>
                  <a:lnTo>
                    <a:pt x="818" y="248"/>
                  </a:lnTo>
                  <a:lnTo>
                    <a:pt x="817" y="258"/>
                  </a:lnTo>
                  <a:lnTo>
                    <a:pt x="815" y="264"/>
                  </a:lnTo>
                  <a:lnTo>
                    <a:pt x="815" y="267"/>
                  </a:lnTo>
                  <a:lnTo>
                    <a:pt x="814" y="268"/>
                  </a:lnTo>
                  <a:lnTo>
                    <a:pt x="813" y="267"/>
                  </a:lnTo>
                  <a:lnTo>
                    <a:pt x="812" y="266"/>
                  </a:lnTo>
                  <a:lnTo>
                    <a:pt x="811" y="265"/>
                  </a:lnTo>
                  <a:lnTo>
                    <a:pt x="810" y="266"/>
                  </a:lnTo>
                  <a:lnTo>
                    <a:pt x="809" y="268"/>
                  </a:lnTo>
                  <a:lnTo>
                    <a:pt x="807" y="271"/>
                  </a:lnTo>
                  <a:lnTo>
                    <a:pt x="803" y="272"/>
                  </a:lnTo>
                  <a:lnTo>
                    <a:pt x="799" y="273"/>
                  </a:lnTo>
                  <a:lnTo>
                    <a:pt x="792" y="275"/>
                  </a:lnTo>
                  <a:lnTo>
                    <a:pt x="788" y="266"/>
                  </a:lnTo>
                  <a:lnTo>
                    <a:pt x="786" y="260"/>
                  </a:lnTo>
                  <a:lnTo>
                    <a:pt x="786" y="258"/>
                  </a:lnTo>
                  <a:lnTo>
                    <a:pt x="786" y="256"/>
                  </a:lnTo>
                  <a:lnTo>
                    <a:pt x="786" y="255"/>
                  </a:lnTo>
                  <a:lnTo>
                    <a:pt x="787" y="254"/>
                  </a:lnTo>
                  <a:lnTo>
                    <a:pt x="789" y="252"/>
                  </a:lnTo>
                  <a:lnTo>
                    <a:pt x="790" y="250"/>
                  </a:lnTo>
                  <a:lnTo>
                    <a:pt x="795" y="249"/>
                  </a:lnTo>
                  <a:lnTo>
                    <a:pt x="799" y="248"/>
                  </a:lnTo>
                  <a:lnTo>
                    <a:pt x="805" y="248"/>
                  </a:lnTo>
                  <a:lnTo>
                    <a:pt x="798" y="235"/>
                  </a:lnTo>
                  <a:lnTo>
                    <a:pt x="794" y="229"/>
                  </a:lnTo>
                  <a:lnTo>
                    <a:pt x="791" y="226"/>
                  </a:lnTo>
                  <a:lnTo>
                    <a:pt x="790" y="225"/>
                  </a:lnTo>
                  <a:lnTo>
                    <a:pt x="787" y="225"/>
                  </a:lnTo>
                  <a:lnTo>
                    <a:pt x="784" y="225"/>
                  </a:lnTo>
                  <a:lnTo>
                    <a:pt x="781" y="225"/>
                  </a:lnTo>
                  <a:lnTo>
                    <a:pt x="778" y="225"/>
                  </a:lnTo>
                  <a:lnTo>
                    <a:pt x="775" y="224"/>
                  </a:lnTo>
                  <a:lnTo>
                    <a:pt x="772" y="223"/>
                  </a:lnTo>
                  <a:lnTo>
                    <a:pt x="765" y="219"/>
                  </a:lnTo>
                  <a:lnTo>
                    <a:pt x="770" y="227"/>
                  </a:lnTo>
                  <a:lnTo>
                    <a:pt x="773" y="234"/>
                  </a:lnTo>
                  <a:lnTo>
                    <a:pt x="773" y="236"/>
                  </a:lnTo>
                  <a:lnTo>
                    <a:pt x="772" y="239"/>
                  </a:lnTo>
                  <a:lnTo>
                    <a:pt x="770" y="243"/>
                  </a:lnTo>
                  <a:lnTo>
                    <a:pt x="767" y="250"/>
                  </a:lnTo>
                  <a:lnTo>
                    <a:pt x="765" y="252"/>
                  </a:lnTo>
                  <a:lnTo>
                    <a:pt x="764" y="253"/>
                  </a:lnTo>
                  <a:lnTo>
                    <a:pt x="765" y="254"/>
                  </a:lnTo>
                  <a:lnTo>
                    <a:pt x="768" y="255"/>
                  </a:lnTo>
                  <a:lnTo>
                    <a:pt x="769" y="257"/>
                  </a:lnTo>
                  <a:lnTo>
                    <a:pt x="770" y="259"/>
                  </a:lnTo>
                  <a:lnTo>
                    <a:pt x="770" y="262"/>
                  </a:lnTo>
                  <a:lnTo>
                    <a:pt x="767" y="268"/>
                  </a:lnTo>
                  <a:lnTo>
                    <a:pt x="765" y="273"/>
                  </a:lnTo>
                  <a:lnTo>
                    <a:pt x="761" y="279"/>
                  </a:lnTo>
                  <a:lnTo>
                    <a:pt x="762" y="280"/>
                  </a:lnTo>
                  <a:lnTo>
                    <a:pt x="761" y="282"/>
                  </a:lnTo>
                  <a:lnTo>
                    <a:pt x="759" y="285"/>
                  </a:lnTo>
                  <a:lnTo>
                    <a:pt x="756" y="279"/>
                  </a:lnTo>
                  <a:lnTo>
                    <a:pt x="755" y="277"/>
                  </a:lnTo>
                  <a:lnTo>
                    <a:pt x="753" y="275"/>
                  </a:lnTo>
                  <a:lnTo>
                    <a:pt x="752" y="275"/>
                  </a:lnTo>
                  <a:lnTo>
                    <a:pt x="750" y="275"/>
                  </a:lnTo>
                  <a:lnTo>
                    <a:pt x="749" y="275"/>
                  </a:lnTo>
                  <a:lnTo>
                    <a:pt x="747" y="275"/>
                  </a:lnTo>
                  <a:lnTo>
                    <a:pt x="746" y="274"/>
                  </a:lnTo>
                  <a:lnTo>
                    <a:pt x="745" y="272"/>
                  </a:lnTo>
                  <a:lnTo>
                    <a:pt x="744" y="271"/>
                  </a:lnTo>
                  <a:lnTo>
                    <a:pt x="742" y="271"/>
                  </a:lnTo>
                  <a:lnTo>
                    <a:pt x="738" y="274"/>
                  </a:lnTo>
                  <a:lnTo>
                    <a:pt x="731" y="279"/>
                  </a:lnTo>
                  <a:lnTo>
                    <a:pt x="719" y="288"/>
                  </a:lnTo>
                  <a:lnTo>
                    <a:pt x="719" y="292"/>
                  </a:lnTo>
                  <a:lnTo>
                    <a:pt x="719" y="294"/>
                  </a:lnTo>
                  <a:lnTo>
                    <a:pt x="720" y="297"/>
                  </a:lnTo>
                  <a:lnTo>
                    <a:pt x="720" y="300"/>
                  </a:lnTo>
                  <a:lnTo>
                    <a:pt x="723" y="303"/>
                  </a:lnTo>
                  <a:lnTo>
                    <a:pt x="728" y="307"/>
                  </a:lnTo>
                  <a:lnTo>
                    <a:pt x="729" y="309"/>
                  </a:lnTo>
                  <a:lnTo>
                    <a:pt x="729" y="310"/>
                  </a:lnTo>
                  <a:lnTo>
                    <a:pt x="728" y="311"/>
                  </a:lnTo>
                  <a:lnTo>
                    <a:pt x="724" y="311"/>
                  </a:lnTo>
                  <a:lnTo>
                    <a:pt x="721" y="311"/>
                  </a:lnTo>
                  <a:lnTo>
                    <a:pt x="716" y="309"/>
                  </a:lnTo>
                  <a:lnTo>
                    <a:pt x="707" y="304"/>
                  </a:lnTo>
                  <a:lnTo>
                    <a:pt x="690" y="294"/>
                  </a:lnTo>
                  <a:lnTo>
                    <a:pt x="688" y="301"/>
                  </a:lnTo>
                  <a:lnTo>
                    <a:pt x="688" y="307"/>
                  </a:lnTo>
                  <a:lnTo>
                    <a:pt x="688" y="309"/>
                  </a:lnTo>
                  <a:lnTo>
                    <a:pt x="689" y="312"/>
                  </a:lnTo>
                  <a:lnTo>
                    <a:pt x="691" y="314"/>
                  </a:lnTo>
                  <a:lnTo>
                    <a:pt x="694" y="315"/>
                  </a:lnTo>
                  <a:lnTo>
                    <a:pt x="695" y="315"/>
                  </a:lnTo>
                  <a:lnTo>
                    <a:pt x="697" y="315"/>
                  </a:lnTo>
                  <a:lnTo>
                    <a:pt x="698" y="315"/>
                  </a:lnTo>
                  <a:lnTo>
                    <a:pt x="699" y="315"/>
                  </a:lnTo>
                  <a:lnTo>
                    <a:pt x="699" y="319"/>
                  </a:lnTo>
                  <a:lnTo>
                    <a:pt x="700" y="322"/>
                  </a:lnTo>
                  <a:lnTo>
                    <a:pt x="700" y="326"/>
                  </a:lnTo>
                  <a:lnTo>
                    <a:pt x="699" y="329"/>
                  </a:lnTo>
                  <a:lnTo>
                    <a:pt x="697" y="330"/>
                  </a:lnTo>
                  <a:lnTo>
                    <a:pt x="696" y="331"/>
                  </a:lnTo>
                  <a:lnTo>
                    <a:pt x="696" y="332"/>
                  </a:lnTo>
                  <a:lnTo>
                    <a:pt x="696" y="333"/>
                  </a:lnTo>
                  <a:lnTo>
                    <a:pt x="692" y="332"/>
                  </a:lnTo>
                  <a:lnTo>
                    <a:pt x="691" y="332"/>
                  </a:lnTo>
                  <a:lnTo>
                    <a:pt x="691" y="331"/>
                  </a:lnTo>
                  <a:lnTo>
                    <a:pt x="692" y="331"/>
                  </a:lnTo>
                  <a:lnTo>
                    <a:pt x="687" y="330"/>
                  </a:lnTo>
                  <a:lnTo>
                    <a:pt x="682" y="329"/>
                  </a:lnTo>
                  <a:lnTo>
                    <a:pt x="677" y="329"/>
                  </a:lnTo>
                  <a:lnTo>
                    <a:pt x="676" y="329"/>
                  </a:lnTo>
                  <a:lnTo>
                    <a:pt x="674" y="329"/>
                  </a:lnTo>
                  <a:lnTo>
                    <a:pt x="674" y="325"/>
                  </a:lnTo>
                  <a:lnTo>
                    <a:pt x="674" y="321"/>
                  </a:lnTo>
                  <a:lnTo>
                    <a:pt x="672" y="320"/>
                  </a:lnTo>
                  <a:lnTo>
                    <a:pt x="670" y="320"/>
                  </a:lnTo>
                  <a:lnTo>
                    <a:pt x="669" y="321"/>
                  </a:lnTo>
                  <a:lnTo>
                    <a:pt x="667" y="321"/>
                  </a:lnTo>
                  <a:lnTo>
                    <a:pt x="664" y="313"/>
                  </a:lnTo>
                  <a:lnTo>
                    <a:pt x="662" y="305"/>
                  </a:lnTo>
                  <a:lnTo>
                    <a:pt x="661" y="296"/>
                  </a:lnTo>
                  <a:lnTo>
                    <a:pt x="661" y="286"/>
                  </a:lnTo>
                  <a:lnTo>
                    <a:pt x="656" y="284"/>
                  </a:lnTo>
                  <a:lnTo>
                    <a:pt x="650" y="282"/>
                  </a:lnTo>
                  <a:lnTo>
                    <a:pt x="645" y="280"/>
                  </a:lnTo>
                  <a:lnTo>
                    <a:pt x="638" y="279"/>
                  </a:lnTo>
                  <a:lnTo>
                    <a:pt x="640" y="273"/>
                  </a:lnTo>
                  <a:lnTo>
                    <a:pt x="638" y="273"/>
                  </a:lnTo>
                  <a:lnTo>
                    <a:pt x="636" y="273"/>
                  </a:lnTo>
                  <a:lnTo>
                    <a:pt x="632" y="273"/>
                  </a:lnTo>
                  <a:lnTo>
                    <a:pt x="632" y="267"/>
                  </a:lnTo>
                  <a:lnTo>
                    <a:pt x="630" y="263"/>
                  </a:lnTo>
                  <a:lnTo>
                    <a:pt x="623" y="252"/>
                  </a:lnTo>
                  <a:lnTo>
                    <a:pt x="638" y="262"/>
                  </a:lnTo>
                  <a:lnTo>
                    <a:pt x="640" y="261"/>
                  </a:lnTo>
                  <a:lnTo>
                    <a:pt x="640" y="260"/>
                  </a:lnTo>
                  <a:lnTo>
                    <a:pt x="640" y="259"/>
                  </a:lnTo>
                  <a:lnTo>
                    <a:pt x="642" y="260"/>
                  </a:lnTo>
                  <a:lnTo>
                    <a:pt x="643" y="260"/>
                  </a:lnTo>
                  <a:lnTo>
                    <a:pt x="644" y="261"/>
                  </a:lnTo>
                  <a:lnTo>
                    <a:pt x="646" y="264"/>
                  </a:lnTo>
                  <a:lnTo>
                    <a:pt x="648" y="267"/>
                  </a:lnTo>
                  <a:lnTo>
                    <a:pt x="649" y="269"/>
                  </a:lnTo>
                  <a:lnTo>
                    <a:pt x="651" y="265"/>
                  </a:lnTo>
                  <a:lnTo>
                    <a:pt x="652" y="264"/>
                  </a:lnTo>
                  <a:lnTo>
                    <a:pt x="653" y="264"/>
                  </a:lnTo>
                  <a:lnTo>
                    <a:pt x="654" y="263"/>
                  </a:lnTo>
                  <a:lnTo>
                    <a:pt x="655" y="263"/>
                  </a:lnTo>
                  <a:lnTo>
                    <a:pt x="655" y="269"/>
                  </a:lnTo>
                  <a:lnTo>
                    <a:pt x="681" y="277"/>
                  </a:lnTo>
                  <a:lnTo>
                    <a:pt x="695" y="280"/>
                  </a:lnTo>
                  <a:lnTo>
                    <a:pt x="702" y="281"/>
                  </a:lnTo>
                  <a:lnTo>
                    <a:pt x="707" y="281"/>
                  </a:lnTo>
                  <a:lnTo>
                    <a:pt x="709" y="280"/>
                  </a:lnTo>
                  <a:lnTo>
                    <a:pt x="713" y="277"/>
                  </a:lnTo>
                  <a:lnTo>
                    <a:pt x="719" y="273"/>
                  </a:lnTo>
                  <a:lnTo>
                    <a:pt x="724" y="269"/>
                  </a:lnTo>
                  <a:lnTo>
                    <a:pt x="727" y="266"/>
                  </a:lnTo>
                  <a:lnTo>
                    <a:pt x="730" y="263"/>
                  </a:lnTo>
                  <a:lnTo>
                    <a:pt x="731" y="259"/>
                  </a:lnTo>
                  <a:lnTo>
                    <a:pt x="732" y="257"/>
                  </a:lnTo>
                  <a:lnTo>
                    <a:pt x="732" y="255"/>
                  </a:lnTo>
                  <a:lnTo>
                    <a:pt x="732" y="251"/>
                  </a:lnTo>
                  <a:lnTo>
                    <a:pt x="731" y="249"/>
                  </a:lnTo>
                  <a:lnTo>
                    <a:pt x="730" y="246"/>
                  </a:lnTo>
                  <a:lnTo>
                    <a:pt x="726" y="246"/>
                  </a:lnTo>
                  <a:lnTo>
                    <a:pt x="726" y="242"/>
                  </a:lnTo>
                  <a:lnTo>
                    <a:pt x="719" y="240"/>
                  </a:lnTo>
                  <a:lnTo>
                    <a:pt x="716" y="238"/>
                  </a:lnTo>
                  <a:lnTo>
                    <a:pt x="713" y="237"/>
                  </a:lnTo>
                  <a:lnTo>
                    <a:pt x="713" y="233"/>
                  </a:lnTo>
                  <a:lnTo>
                    <a:pt x="712" y="232"/>
                  </a:lnTo>
                  <a:lnTo>
                    <a:pt x="711" y="232"/>
                  </a:lnTo>
                  <a:lnTo>
                    <a:pt x="710" y="233"/>
                  </a:lnTo>
                  <a:lnTo>
                    <a:pt x="709" y="233"/>
                  </a:lnTo>
                  <a:lnTo>
                    <a:pt x="707" y="233"/>
                  </a:lnTo>
                  <a:lnTo>
                    <a:pt x="707" y="229"/>
                  </a:lnTo>
                  <a:lnTo>
                    <a:pt x="691" y="220"/>
                  </a:lnTo>
                  <a:lnTo>
                    <a:pt x="687" y="218"/>
                  </a:lnTo>
                  <a:lnTo>
                    <a:pt x="683" y="216"/>
                  </a:lnTo>
                  <a:lnTo>
                    <a:pt x="676" y="214"/>
                  </a:lnTo>
                  <a:lnTo>
                    <a:pt x="675" y="213"/>
                  </a:lnTo>
                  <a:lnTo>
                    <a:pt x="673" y="213"/>
                  </a:lnTo>
                  <a:lnTo>
                    <a:pt x="670" y="213"/>
                  </a:lnTo>
                  <a:lnTo>
                    <a:pt x="668" y="214"/>
                  </a:lnTo>
                  <a:lnTo>
                    <a:pt x="667" y="214"/>
                  </a:lnTo>
                  <a:lnTo>
                    <a:pt x="666" y="212"/>
                  </a:lnTo>
                  <a:lnTo>
                    <a:pt x="665" y="211"/>
                  </a:lnTo>
                  <a:lnTo>
                    <a:pt x="664" y="209"/>
                  </a:lnTo>
                  <a:lnTo>
                    <a:pt x="663" y="208"/>
                  </a:lnTo>
                  <a:lnTo>
                    <a:pt x="661" y="207"/>
                  </a:lnTo>
                  <a:lnTo>
                    <a:pt x="659" y="208"/>
                  </a:lnTo>
                  <a:lnTo>
                    <a:pt x="657" y="208"/>
                  </a:lnTo>
                  <a:lnTo>
                    <a:pt x="655" y="208"/>
                  </a:lnTo>
                  <a:lnTo>
                    <a:pt x="653" y="204"/>
                  </a:lnTo>
                  <a:lnTo>
                    <a:pt x="650" y="203"/>
                  </a:lnTo>
                  <a:lnTo>
                    <a:pt x="646" y="202"/>
                  </a:lnTo>
                  <a:lnTo>
                    <a:pt x="638" y="201"/>
                  </a:lnTo>
                  <a:lnTo>
                    <a:pt x="625" y="200"/>
                  </a:lnTo>
                  <a:lnTo>
                    <a:pt x="625" y="196"/>
                  </a:lnTo>
                  <a:lnTo>
                    <a:pt x="628" y="196"/>
                  </a:lnTo>
                  <a:lnTo>
                    <a:pt x="631" y="195"/>
                  </a:lnTo>
                  <a:lnTo>
                    <a:pt x="631" y="194"/>
                  </a:lnTo>
                  <a:lnTo>
                    <a:pt x="627" y="192"/>
                  </a:lnTo>
                  <a:lnTo>
                    <a:pt x="623" y="190"/>
                  </a:lnTo>
                  <a:lnTo>
                    <a:pt x="622" y="190"/>
                  </a:lnTo>
                  <a:lnTo>
                    <a:pt x="621" y="190"/>
                  </a:lnTo>
                  <a:lnTo>
                    <a:pt x="618" y="191"/>
                  </a:lnTo>
                  <a:lnTo>
                    <a:pt x="615" y="191"/>
                  </a:lnTo>
                  <a:lnTo>
                    <a:pt x="610" y="190"/>
                  </a:lnTo>
                  <a:lnTo>
                    <a:pt x="607" y="189"/>
                  </a:lnTo>
                  <a:lnTo>
                    <a:pt x="603" y="189"/>
                  </a:lnTo>
                  <a:lnTo>
                    <a:pt x="601" y="192"/>
                  </a:lnTo>
                  <a:lnTo>
                    <a:pt x="597" y="193"/>
                  </a:lnTo>
                  <a:lnTo>
                    <a:pt x="595" y="193"/>
                  </a:lnTo>
                  <a:lnTo>
                    <a:pt x="592" y="194"/>
                  </a:lnTo>
                  <a:lnTo>
                    <a:pt x="590" y="190"/>
                  </a:lnTo>
                  <a:lnTo>
                    <a:pt x="589" y="188"/>
                  </a:lnTo>
                  <a:lnTo>
                    <a:pt x="588" y="187"/>
                  </a:lnTo>
                  <a:lnTo>
                    <a:pt x="590" y="186"/>
                  </a:lnTo>
                  <a:lnTo>
                    <a:pt x="593" y="187"/>
                  </a:lnTo>
                  <a:lnTo>
                    <a:pt x="595" y="187"/>
                  </a:lnTo>
                  <a:lnTo>
                    <a:pt x="598" y="187"/>
                  </a:lnTo>
                  <a:lnTo>
                    <a:pt x="600" y="184"/>
                  </a:lnTo>
                  <a:lnTo>
                    <a:pt x="601" y="182"/>
                  </a:lnTo>
                  <a:lnTo>
                    <a:pt x="601" y="181"/>
                  </a:lnTo>
                  <a:lnTo>
                    <a:pt x="604" y="181"/>
                  </a:lnTo>
                  <a:lnTo>
                    <a:pt x="605" y="182"/>
                  </a:lnTo>
                  <a:lnTo>
                    <a:pt x="607" y="183"/>
                  </a:lnTo>
                  <a:lnTo>
                    <a:pt x="609" y="183"/>
                  </a:lnTo>
                  <a:lnTo>
                    <a:pt x="608" y="181"/>
                  </a:lnTo>
                  <a:lnTo>
                    <a:pt x="607" y="178"/>
                  </a:lnTo>
                  <a:lnTo>
                    <a:pt x="605" y="173"/>
                  </a:lnTo>
                  <a:lnTo>
                    <a:pt x="603" y="173"/>
                  </a:lnTo>
                  <a:lnTo>
                    <a:pt x="603" y="174"/>
                  </a:lnTo>
                  <a:lnTo>
                    <a:pt x="603" y="175"/>
                  </a:lnTo>
                  <a:lnTo>
                    <a:pt x="601" y="175"/>
                  </a:lnTo>
                  <a:lnTo>
                    <a:pt x="598" y="175"/>
                  </a:lnTo>
                  <a:lnTo>
                    <a:pt x="599" y="173"/>
                  </a:lnTo>
                  <a:lnTo>
                    <a:pt x="600" y="171"/>
                  </a:lnTo>
                  <a:lnTo>
                    <a:pt x="600" y="169"/>
                  </a:lnTo>
                  <a:lnTo>
                    <a:pt x="599" y="170"/>
                  </a:lnTo>
                  <a:lnTo>
                    <a:pt x="596" y="172"/>
                  </a:lnTo>
                  <a:lnTo>
                    <a:pt x="594" y="173"/>
                  </a:lnTo>
                  <a:lnTo>
                    <a:pt x="594" y="169"/>
                  </a:lnTo>
                  <a:lnTo>
                    <a:pt x="590" y="169"/>
                  </a:lnTo>
                  <a:lnTo>
                    <a:pt x="591" y="167"/>
                  </a:lnTo>
                  <a:lnTo>
                    <a:pt x="592" y="166"/>
                  </a:lnTo>
                  <a:lnTo>
                    <a:pt x="590" y="166"/>
                  </a:lnTo>
                  <a:lnTo>
                    <a:pt x="590" y="164"/>
                  </a:lnTo>
                  <a:lnTo>
                    <a:pt x="589" y="163"/>
                  </a:lnTo>
                  <a:lnTo>
                    <a:pt x="588" y="163"/>
                  </a:lnTo>
                  <a:lnTo>
                    <a:pt x="586" y="164"/>
                  </a:lnTo>
                  <a:lnTo>
                    <a:pt x="585" y="165"/>
                  </a:lnTo>
                  <a:lnTo>
                    <a:pt x="585" y="166"/>
                  </a:lnTo>
                  <a:lnTo>
                    <a:pt x="585" y="168"/>
                  </a:lnTo>
                  <a:lnTo>
                    <a:pt x="584" y="169"/>
                  </a:lnTo>
                  <a:lnTo>
                    <a:pt x="581" y="170"/>
                  </a:lnTo>
                  <a:lnTo>
                    <a:pt x="577" y="171"/>
                  </a:lnTo>
                  <a:lnTo>
                    <a:pt x="577" y="167"/>
                  </a:lnTo>
                  <a:lnTo>
                    <a:pt x="577" y="164"/>
                  </a:lnTo>
                  <a:lnTo>
                    <a:pt x="580" y="163"/>
                  </a:lnTo>
                  <a:lnTo>
                    <a:pt x="581" y="162"/>
                  </a:lnTo>
                  <a:lnTo>
                    <a:pt x="580" y="160"/>
                  </a:lnTo>
                  <a:lnTo>
                    <a:pt x="578" y="160"/>
                  </a:lnTo>
                  <a:lnTo>
                    <a:pt x="579" y="160"/>
                  </a:lnTo>
                  <a:lnTo>
                    <a:pt x="577" y="158"/>
                  </a:lnTo>
                  <a:lnTo>
                    <a:pt x="571" y="156"/>
                  </a:lnTo>
                  <a:lnTo>
                    <a:pt x="569" y="162"/>
                  </a:lnTo>
                  <a:lnTo>
                    <a:pt x="567" y="163"/>
                  </a:lnTo>
                  <a:lnTo>
                    <a:pt x="565" y="164"/>
                  </a:lnTo>
                  <a:lnTo>
                    <a:pt x="567" y="169"/>
                  </a:lnTo>
                  <a:lnTo>
                    <a:pt x="563" y="173"/>
                  </a:lnTo>
                  <a:lnTo>
                    <a:pt x="559" y="175"/>
                  </a:lnTo>
                  <a:lnTo>
                    <a:pt x="559" y="177"/>
                  </a:lnTo>
                  <a:lnTo>
                    <a:pt x="558" y="177"/>
                  </a:lnTo>
                  <a:lnTo>
                    <a:pt x="557" y="174"/>
                  </a:lnTo>
                  <a:lnTo>
                    <a:pt x="557" y="169"/>
                  </a:lnTo>
                  <a:lnTo>
                    <a:pt x="558" y="169"/>
                  </a:lnTo>
                  <a:lnTo>
                    <a:pt x="559" y="169"/>
                  </a:lnTo>
                  <a:lnTo>
                    <a:pt x="559" y="167"/>
                  </a:lnTo>
                  <a:lnTo>
                    <a:pt x="558" y="165"/>
                  </a:lnTo>
                  <a:lnTo>
                    <a:pt x="557" y="164"/>
                  </a:lnTo>
                  <a:lnTo>
                    <a:pt x="554" y="166"/>
                  </a:lnTo>
                  <a:lnTo>
                    <a:pt x="553" y="168"/>
                  </a:lnTo>
                  <a:lnTo>
                    <a:pt x="553" y="169"/>
                  </a:lnTo>
                  <a:lnTo>
                    <a:pt x="548" y="174"/>
                  </a:lnTo>
                  <a:lnTo>
                    <a:pt x="546" y="177"/>
                  </a:lnTo>
                  <a:lnTo>
                    <a:pt x="544" y="179"/>
                  </a:lnTo>
                  <a:lnTo>
                    <a:pt x="544" y="180"/>
                  </a:lnTo>
                  <a:lnTo>
                    <a:pt x="544" y="182"/>
                  </a:lnTo>
                  <a:lnTo>
                    <a:pt x="544" y="183"/>
                  </a:lnTo>
                  <a:lnTo>
                    <a:pt x="544" y="185"/>
                  </a:lnTo>
                  <a:lnTo>
                    <a:pt x="543" y="186"/>
                  </a:lnTo>
                  <a:lnTo>
                    <a:pt x="541" y="187"/>
                  </a:lnTo>
                  <a:lnTo>
                    <a:pt x="539" y="188"/>
                  </a:lnTo>
                  <a:lnTo>
                    <a:pt x="538" y="189"/>
                  </a:lnTo>
                  <a:lnTo>
                    <a:pt x="539" y="182"/>
                  </a:lnTo>
                  <a:lnTo>
                    <a:pt x="540" y="175"/>
                  </a:lnTo>
                  <a:lnTo>
                    <a:pt x="543" y="174"/>
                  </a:lnTo>
                  <a:lnTo>
                    <a:pt x="545" y="174"/>
                  </a:lnTo>
                  <a:lnTo>
                    <a:pt x="546" y="173"/>
                  </a:lnTo>
                  <a:lnTo>
                    <a:pt x="542" y="164"/>
                  </a:lnTo>
                  <a:lnTo>
                    <a:pt x="540" y="165"/>
                  </a:lnTo>
                  <a:lnTo>
                    <a:pt x="539" y="166"/>
                  </a:lnTo>
                  <a:lnTo>
                    <a:pt x="539" y="167"/>
                  </a:lnTo>
                  <a:lnTo>
                    <a:pt x="540" y="167"/>
                  </a:lnTo>
                  <a:lnTo>
                    <a:pt x="538" y="167"/>
                  </a:lnTo>
                  <a:lnTo>
                    <a:pt x="538" y="166"/>
                  </a:lnTo>
                  <a:lnTo>
                    <a:pt x="537" y="165"/>
                  </a:lnTo>
                  <a:lnTo>
                    <a:pt x="536" y="164"/>
                  </a:lnTo>
                  <a:lnTo>
                    <a:pt x="535" y="164"/>
                  </a:lnTo>
                  <a:lnTo>
                    <a:pt x="533" y="163"/>
                  </a:lnTo>
                  <a:lnTo>
                    <a:pt x="530" y="162"/>
                  </a:lnTo>
                  <a:lnTo>
                    <a:pt x="531" y="168"/>
                  </a:lnTo>
                  <a:lnTo>
                    <a:pt x="531" y="171"/>
                  </a:lnTo>
                  <a:lnTo>
                    <a:pt x="530" y="173"/>
                  </a:lnTo>
                  <a:lnTo>
                    <a:pt x="527" y="171"/>
                  </a:lnTo>
                  <a:lnTo>
                    <a:pt x="528" y="170"/>
                  </a:lnTo>
                  <a:lnTo>
                    <a:pt x="528" y="169"/>
                  </a:lnTo>
                  <a:lnTo>
                    <a:pt x="526" y="168"/>
                  </a:lnTo>
                  <a:lnTo>
                    <a:pt x="523" y="167"/>
                  </a:lnTo>
                  <a:lnTo>
                    <a:pt x="522" y="168"/>
                  </a:lnTo>
                  <a:lnTo>
                    <a:pt x="523" y="170"/>
                  </a:lnTo>
                  <a:lnTo>
                    <a:pt x="523" y="172"/>
                  </a:lnTo>
                  <a:lnTo>
                    <a:pt x="523" y="173"/>
                  </a:lnTo>
                  <a:lnTo>
                    <a:pt x="511" y="183"/>
                  </a:lnTo>
                  <a:lnTo>
                    <a:pt x="507" y="180"/>
                  </a:lnTo>
                  <a:lnTo>
                    <a:pt x="502" y="176"/>
                  </a:lnTo>
                  <a:lnTo>
                    <a:pt x="496" y="174"/>
                  </a:lnTo>
                  <a:lnTo>
                    <a:pt x="494" y="173"/>
                  </a:lnTo>
                  <a:lnTo>
                    <a:pt x="492" y="173"/>
                  </a:lnTo>
                  <a:lnTo>
                    <a:pt x="490" y="176"/>
                  </a:lnTo>
                  <a:lnTo>
                    <a:pt x="488" y="179"/>
                  </a:lnTo>
                  <a:lnTo>
                    <a:pt x="494" y="179"/>
                  </a:lnTo>
                  <a:lnTo>
                    <a:pt x="495" y="183"/>
                  </a:lnTo>
                  <a:lnTo>
                    <a:pt x="495" y="185"/>
                  </a:lnTo>
                  <a:lnTo>
                    <a:pt x="496" y="187"/>
                  </a:lnTo>
                  <a:lnTo>
                    <a:pt x="491" y="185"/>
                  </a:lnTo>
                  <a:lnTo>
                    <a:pt x="486" y="183"/>
                  </a:lnTo>
                  <a:lnTo>
                    <a:pt x="488" y="190"/>
                  </a:lnTo>
                  <a:lnTo>
                    <a:pt x="485" y="190"/>
                  </a:lnTo>
                  <a:lnTo>
                    <a:pt x="482" y="190"/>
                  </a:lnTo>
                  <a:lnTo>
                    <a:pt x="484" y="185"/>
                  </a:lnTo>
                  <a:lnTo>
                    <a:pt x="483" y="184"/>
                  </a:lnTo>
                  <a:lnTo>
                    <a:pt x="482" y="183"/>
                  </a:lnTo>
                  <a:lnTo>
                    <a:pt x="480" y="188"/>
                  </a:lnTo>
                  <a:lnTo>
                    <a:pt x="478" y="191"/>
                  </a:lnTo>
                  <a:lnTo>
                    <a:pt x="477" y="191"/>
                  </a:lnTo>
                  <a:lnTo>
                    <a:pt x="477" y="190"/>
                  </a:lnTo>
                  <a:lnTo>
                    <a:pt x="475" y="183"/>
                  </a:lnTo>
                  <a:lnTo>
                    <a:pt x="474" y="185"/>
                  </a:lnTo>
                  <a:lnTo>
                    <a:pt x="474" y="187"/>
                  </a:lnTo>
                  <a:lnTo>
                    <a:pt x="474" y="188"/>
                  </a:lnTo>
                  <a:lnTo>
                    <a:pt x="473" y="190"/>
                  </a:lnTo>
                  <a:lnTo>
                    <a:pt x="471" y="191"/>
                  </a:lnTo>
                  <a:lnTo>
                    <a:pt x="469" y="192"/>
                  </a:lnTo>
                  <a:lnTo>
                    <a:pt x="467" y="193"/>
                  </a:lnTo>
                  <a:lnTo>
                    <a:pt x="465" y="194"/>
                  </a:lnTo>
                  <a:lnTo>
                    <a:pt x="464" y="192"/>
                  </a:lnTo>
                  <a:lnTo>
                    <a:pt x="464" y="191"/>
                  </a:lnTo>
                  <a:lnTo>
                    <a:pt x="464" y="190"/>
                  </a:lnTo>
                  <a:lnTo>
                    <a:pt x="461" y="189"/>
                  </a:lnTo>
                  <a:lnTo>
                    <a:pt x="459" y="196"/>
                  </a:lnTo>
                  <a:lnTo>
                    <a:pt x="461" y="196"/>
                  </a:lnTo>
                  <a:lnTo>
                    <a:pt x="463" y="196"/>
                  </a:lnTo>
                  <a:lnTo>
                    <a:pt x="463" y="197"/>
                  </a:lnTo>
                  <a:lnTo>
                    <a:pt x="461" y="198"/>
                  </a:lnTo>
                  <a:lnTo>
                    <a:pt x="457" y="199"/>
                  </a:lnTo>
                  <a:lnTo>
                    <a:pt x="456" y="200"/>
                  </a:lnTo>
                  <a:lnTo>
                    <a:pt x="458" y="200"/>
                  </a:lnTo>
                  <a:lnTo>
                    <a:pt x="458" y="204"/>
                  </a:lnTo>
                  <a:lnTo>
                    <a:pt x="455" y="204"/>
                  </a:lnTo>
                  <a:lnTo>
                    <a:pt x="454" y="203"/>
                  </a:lnTo>
                  <a:lnTo>
                    <a:pt x="452" y="202"/>
                  </a:lnTo>
                  <a:lnTo>
                    <a:pt x="450" y="202"/>
                  </a:lnTo>
                  <a:lnTo>
                    <a:pt x="450" y="208"/>
                  </a:lnTo>
                  <a:lnTo>
                    <a:pt x="448" y="208"/>
                  </a:lnTo>
                  <a:lnTo>
                    <a:pt x="447" y="207"/>
                  </a:lnTo>
                  <a:lnTo>
                    <a:pt x="447" y="206"/>
                  </a:lnTo>
                  <a:lnTo>
                    <a:pt x="447" y="205"/>
                  </a:lnTo>
                  <a:lnTo>
                    <a:pt x="447" y="203"/>
                  </a:lnTo>
                  <a:lnTo>
                    <a:pt x="447" y="200"/>
                  </a:lnTo>
                  <a:lnTo>
                    <a:pt x="448" y="197"/>
                  </a:lnTo>
                  <a:lnTo>
                    <a:pt x="448" y="195"/>
                  </a:lnTo>
                  <a:lnTo>
                    <a:pt x="447" y="195"/>
                  </a:lnTo>
                  <a:lnTo>
                    <a:pt x="446" y="195"/>
                  </a:lnTo>
                  <a:lnTo>
                    <a:pt x="442" y="196"/>
                  </a:lnTo>
                  <a:lnTo>
                    <a:pt x="440" y="198"/>
                  </a:lnTo>
                  <a:lnTo>
                    <a:pt x="436" y="200"/>
                  </a:lnTo>
                  <a:lnTo>
                    <a:pt x="437" y="204"/>
                  </a:lnTo>
                  <a:lnTo>
                    <a:pt x="437" y="207"/>
                  </a:lnTo>
                  <a:lnTo>
                    <a:pt x="437" y="209"/>
                  </a:lnTo>
                  <a:lnTo>
                    <a:pt x="437" y="210"/>
                  </a:lnTo>
                  <a:lnTo>
                    <a:pt x="438" y="210"/>
                  </a:lnTo>
                  <a:lnTo>
                    <a:pt x="440" y="209"/>
                  </a:lnTo>
                  <a:lnTo>
                    <a:pt x="446" y="208"/>
                  </a:lnTo>
                  <a:lnTo>
                    <a:pt x="444" y="216"/>
                  </a:lnTo>
                  <a:lnTo>
                    <a:pt x="443" y="219"/>
                  </a:lnTo>
                  <a:lnTo>
                    <a:pt x="442" y="222"/>
                  </a:lnTo>
                  <a:lnTo>
                    <a:pt x="441" y="223"/>
                  </a:lnTo>
                  <a:lnTo>
                    <a:pt x="439" y="225"/>
                  </a:lnTo>
                  <a:lnTo>
                    <a:pt x="431" y="229"/>
                  </a:lnTo>
                  <a:lnTo>
                    <a:pt x="432" y="232"/>
                  </a:lnTo>
                  <a:lnTo>
                    <a:pt x="434" y="233"/>
                  </a:lnTo>
                  <a:lnTo>
                    <a:pt x="434" y="240"/>
                  </a:lnTo>
                  <a:lnTo>
                    <a:pt x="429" y="238"/>
                  </a:lnTo>
                  <a:lnTo>
                    <a:pt x="423" y="235"/>
                  </a:lnTo>
                  <a:lnTo>
                    <a:pt x="424" y="238"/>
                  </a:lnTo>
                  <a:lnTo>
                    <a:pt x="425" y="240"/>
                  </a:lnTo>
                  <a:lnTo>
                    <a:pt x="427" y="243"/>
                  </a:lnTo>
                  <a:lnTo>
                    <a:pt x="428" y="246"/>
                  </a:lnTo>
                  <a:lnTo>
                    <a:pt x="431" y="252"/>
                  </a:lnTo>
                  <a:lnTo>
                    <a:pt x="428" y="252"/>
                  </a:lnTo>
                  <a:lnTo>
                    <a:pt x="426" y="252"/>
                  </a:lnTo>
                  <a:lnTo>
                    <a:pt x="423" y="251"/>
                  </a:lnTo>
                  <a:lnTo>
                    <a:pt x="422" y="252"/>
                  </a:lnTo>
                  <a:lnTo>
                    <a:pt x="421" y="252"/>
                  </a:lnTo>
                  <a:lnTo>
                    <a:pt x="421" y="256"/>
                  </a:lnTo>
                  <a:lnTo>
                    <a:pt x="421" y="260"/>
                  </a:lnTo>
                  <a:lnTo>
                    <a:pt x="415" y="263"/>
                  </a:lnTo>
                  <a:lnTo>
                    <a:pt x="412" y="265"/>
                  </a:lnTo>
                  <a:lnTo>
                    <a:pt x="410" y="265"/>
                  </a:lnTo>
                  <a:lnTo>
                    <a:pt x="409" y="265"/>
                  </a:lnTo>
                  <a:lnTo>
                    <a:pt x="410" y="264"/>
                  </a:lnTo>
                  <a:lnTo>
                    <a:pt x="409" y="263"/>
                  </a:lnTo>
                  <a:lnTo>
                    <a:pt x="408" y="263"/>
                  </a:lnTo>
                  <a:lnTo>
                    <a:pt x="407" y="265"/>
                  </a:lnTo>
                  <a:lnTo>
                    <a:pt x="406" y="267"/>
                  </a:lnTo>
                  <a:lnTo>
                    <a:pt x="405" y="270"/>
                  </a:lnTo>
                  <a:lnTo>
                    <a:pt x="404" y="271"/>
                  </a:lnTo>
                  <a:lnTo>
                    <a:pt x="402" y="271"/>
                  </a:lnTo>
                  <a:lnTo>
                    <a:pt x="401" y="271"/>
                  </a:lnTo>
                  <a:lnTo>
                    <a:pt x="399" y="271"/>
                  </a:lnTo>
                  <a:lnTo>
                    <a:pt x="398" y="271"/>
                  </a:lnTo>
                  <a:lnTo>
                    <a:pt x="398" y="275"/>
                  </a:lnTo>
                  <a:lnTo>
                    <a:pt x="402" y="275"/>
                  </a:lnTo>
                  <a:lnTo>
                    <a:pt x="400" y="276"/>
                  </a:lnTo>
                  <a:lnTo>
                    <a:pt x="399" y="277"/>
                  </a:lnTo>
                  <a:lnTo>
                    <a:pt x="399" y="278"/>
                  </a:lnTo>
                  <a:lnTo>
                    <a:pt x="399" y="279"/>
                  </a:lnTo>
                  <a:lnTo>
                    <a:pt x="400" y="282"/>
                  </a:lnTo>
                  <a:lnTo>
                    <a:pt x="401" y="283"/>
                  </a:lnTo>
                  <a:lnTo>
                    <a:pt x="400" y="285"/>
                  </a:lnTo>
                  <a:lnTo>
                    <a:pt x="399" y="286"/>
                  </a:lnTo>
                  <a:lnTo>
                    <a:pt x="397" y="286"/>
                  </a:lnTo>
                  <a:lnTo>
                    <a:pt x="396" y="286"/>
                  </a:lnTo>
                  <a:lnTo>
                    <a:pt x="394" y="286"/>
                  </a:lnTo>
                  <a:lnTo>
                    <a:pt x="389" y="290"/>
                  </a:lnTo>
                  <a:lnTo>
                    <a:pt x="385" y="292"/>
                  </a:lnTo>
                  <a:lnTo>
                    <a:pt x="383" y="294"/>
                  </a:lnTo>
                  <a:lnTo>
                    <a:pt x="382" y="296"/>
                  </a:lnTo>
                  <a:lnTo>
                    <a:pt x="381" y="300"/>
                  </a:lnTo>
                  <a:lnTo>
                    <a:pt x="381" y="304"/>
                  </a:lnTo>
                  <a:lnTo>
                    <a:pt x="379" y="303"/>
                  </a:lnTo>
                  <a:lnTo>
                    <a:pt x="377" y="302"/>
                  </a:lnTo>
                  <a:lnTo>
                    <a:pt x="373" y="300"/>
                  </a:lnTo>
                  <a:lnTo>
                    <a:pt x="368" y="307"/>
                  </a:lnTo>
                  <a:lnTo>
                    <a:pt x="365" y="311"/>
                  </a:lnTo>
                  <a:lnTo>
                    <a:pt x="363" y="313"/>
                  </a:lnTo>
                  <a:lnTo>
                    <a:pt x="362" y="314"/>
                  </a:lnTo>
                  <a:lnTo>
                    <a:pt x="360" y="314"/>
                  </a:lnTo>
                  <a:lnTo>
                    <a:pt x="359" y="314"/>
                  </a:lnTo>
                  <a:lnTo>
                    <a:pt x="358" y="315"/>
                  </a:lnTo>
                  <a:lnTo>
                    <a:pt x="356" y="317"/>
                  </a:lnTo>
                  <a:lnTo>
                    <a:pt x="355" y="320"/>
                  </a:lnTo>
                  <a:lnTo>
                    <a:pt x="355" y="322"/>
                  </a:lnTo>
                  <a:lnTo>
                    <a:pt x="353" y="325"/>
                  </a:lnTo>
                  <a:lnTo>
                    <a:pt x="351" y="325"/>
                  </a:lnTo>
                  <a:lnTo>
                    <a:pt x="349" y="325"/>
                  </a:lnTo>
                  <a:lnTo>
                    <a:pt x="349" y="326"/>
                  </a:lnTo>
                  <a:lnTo>
                    <a:pt x="349" y="327"/>
                  </a:lnTo>
                  <a:lnTo>
                    <a:pt x="351" y="329"/>
                  </a:lnTo>
                  <a:lnTo>
                    <a:pt x="353" y="329"/>
                  </a:lnTo>
                  <a:lnTo>
                    <a:pt x="356" y="329"/>
                  </a:lnTo>
                  <a:lnTo>
                    <a:pt x="357" y="328"/>
                  </a:lnTo>
                  <a:lnTo>
                    <a:pt x="359" y="326"/>
                  </a:lnTo>
                  <a:lnTo>
                    <a:pt x="361" y="324"/>
                  </a:lnTo>
                  <a:lnTo>
                    <a:pt x="362" y="323"/>
                  </a:lnTo>
                  <a:lnTo>
                    <a:pt x="363" y="323"/>
                  </a:lnTo>
                  <a:lnTo>
                    <a:pt x="365" y="324"/>
                  </a:lnTo>
                  <a:lnTo>
                    <a:pt x="366" y="325"/>
                  </a:lnTo>
                  <a:lnTo>
                    <a:pt x="365" y="327"/>
                  </a:lnTo>
                  <a:lnTo>
                    <a:pt x="364" y="328"/>
                  </a:lnTo>
                  <a:lnTo>
                    <a:pt x="362" y="329"/>
                  </a:lnTo>
                  <a:lnTo>
                    <a:pt x="358" y="331"/>
                  </a:lnTo>
                  <a:lnTo>
                    <a:pt x="358" y="334"/>
                  </a:lnTo>
                  <a:lnTo>
                    <a:pt x="353" y="334"/>
                  </a:lnTo>
                  <a:lnTo>
                    <a:pt x="351" y="334"/>
                  </a:lnTo>
                  <a:lnTo>
                    <a:pt x="349" y="334"/>
                  </a:lnTo>
                  <a:lnTo>
                    <a:pt x="347" y="334"/>
                  </a:lnTo>
                  <a:lnTo>
                    <a:pt x="347" y="330"/>
                  </a:lnTo>
                  <a:lnTo>
                    <a:pt x="346" y="328"/>
                  </a:lnTo>
                  <a:lnTo>
                    <a:pt x="346" y="327"/>
                  </a:lnTo>
                  <a:lnTo>
                    <a:pt x="345" y="327"/>
                  </a:lnTo>
                  <a:lnTo>
                    <a:pt x="344" y="327"/>
                  </a:lnTo>
                  <a:lnTo>
                    <a:pt x="343" y="328"/>
                  </a:lnTo>
                  <a:lnTo>
                    <a:pt x="341" y="331"/>
                  </a:lnTo>
                  <a:lnTo>
                    <a:pt x="332" y="325"/>
                  </a:lnTo>
                  <a:lnTo>
                    <a:pt x="330" y="328"/>
                  </a:lnTo>
                  <a:lnTo>
                    <a:pt x="328" y="331"/>
                  </a:lnTo>
                  <a:lnTo>
                    <a:pt x="329" y="331"/>
                  </a:lnTo>
                  <a:lnTo>
                    <a:pt x="330" y="331"/>
                  </a:lnTo>
                  <a:lnTo>
                    <a:pt x="331" y="330"/>
                  </a:lnTo>
                  <a:lnTo>
                    <a:pt x="334" y="329"/>
                  </a:lnTo>
                  <a:lnTo>
                    <a:pt x="333" y="331"/>
                  </a:lnTo>
                  <a:lnTo>
                    <a:pt x="334" y="333"/>
                  </a:lnTo>
                  <a:lnTo>
                    <a:pt x="335" y="335"/>
                  </a:lnTo>
                  <a:lnTo>
                    <a:pt x="336" y="336"/>
                  </a:lnTo>
                  <a:lnTo>
                    <a:pt x="334" y="338"/>
                  </a:lnTo>
                  <a:lnTo>
                    <a:pt x="334" y="340"/>
                  </a:lnTo>
                  <a:lnTo>
                    <a:pt x="331" y="340"/>
                  </a:lnTo>
                  <a:lnTo>
                    <a:pt x="328" y="340"/>
                  </a:lnTo>
                  <a:lnTo>
                    <a:pt x="326" y="344"/>
                  </a:lnTo>
                  <a:lnTo>
                    <a:pt x="324" y="348"/>
                  </a:lnTo>
                  <a:lnTo>
                    <a:pt x="322" y="348"/>
                  </a:lnTo>
                  <a:lnTo>
                    <a:pt x="321" y="348"/>
                  </a:lnTo>
                  <a:lnTo>
                    <a:pt x="317" y="348"/>
                  </a:lnTo>
                  <a:lnTo>
                    <a:pt x="314" y="348"/>
                  </a:lnTo>
                  <a:lnTo>
                    <a:pt x="311" y="348"/>
                  </a:lnTo>
                  <a:lnTo>
                    <a:pt x="311" y="352"/>
                  </a:lnTo>
                  <a:lnTo>
                    <a:pt x="312" y="351"/>
                  </a:lnTo>
                  <a:lnTo>
                    <a:pt x="313" y="351"/>
                  </a:lnTo>
                  <a:lnTo>
                    <a:pt x="314" y="352"/>
                  </a:lnTo>
                  <a:lnTo>
                    <a:pt x="314" y="356"/>
                  </a:lnTo>
                  <a:lnTo>
                    <a:pt x="310" y="357"/>
                  </a:lnTo>
                  <a:lnTo>
                    <a:pt x="308" y="358"/>
                  </a:lnTo>
                  <a:lnTo>
                    <a:pt x="309" y="358"/>
                  </a:lnTo>
                  <a:lnTo>
                    <a:pt x="301" y="358"/>
                  </a:lnTo>
                  <a:lnTo>
                    <a:pt x="301" y="363"/>
                  </a:lnTo>
                  <a:lnTo>
                    <a:pt x="306" y="363"/>
                  </a:lnTo>
                  <a:lnTo>
                    <a:pt x="307" y="363"/>
                  </a:lnTo>
                  <a:lnTo>
                    <a:pt x="307" y="364"/>
                  </a:lnTo>
                  <a:lnTo>
                    <a:pt x="303" y="365"/>
                  </a:lnTo>
                  <a:lnTo>
                    <a:pt x="296" y="367"/>
                  </a:lnTo>
                  <a:lnTo>
                    <a:pt x="292" y="368"/>
                  </a:lnTo>
                  <a:lnTo>
                    <a:pt x="286" y="369"/>
                  </a:lnTo>
                  <a:lnTo>
                    <a:pt x="286" y="373"/>
                  </a:lnTo>
                  <a:lnTo>
                    <a:pt x="293" y="375"/>
                  </a:lnTo>
                  <a:lnTo>
                    <a:pt x="298" y="376"/>
                  </a:lnTo>
                  <a:lnTo>
                    <a:pt x="295" y="376"/>
                  </a:lnTo>
                  <a:lnTo>
                    <a:pt x="289" y="375"/>
                  </a:lnTo>
                  <a:lnTo>
                    <a:pt x="286" y="375"/>
                  </a:lnTo>
                  <a:lnTo>
                    <a:pt x="284" y="375"/>
                  </a:lnTo>
                  <a:lnTo>
                    <a:pt x="280" y="379"/>
                  </a:lnTo>
                  <a:lnTo>
                    <a:pt x="282" y="384"/>
                  </a:lnTo>
                  <a:lnTo>
                    <a:pt x="283" y="387"/>
                  </a:lnTo>
                  <a:lnTo>
                    <a:pt x="284" y="387"/>
                  </a:lnTo>
                  <a:lnTo>
                    <a:pt x="286" y="387"/>
                  </a:lnTo>
                  <a:lnTo>
                    <a:pt x="291" y="386"/>
                  </a:lnTo>
                  <a:lnTo>
                    <a:pt x="282" y="390"/>
                  </a:lnTo>
                  <a:lnTo>
                    <a:pt x="283" y="392"/>
                  </a:lnTo>
                  <a:lnTo>
                    <a:pt x="284" y="394"/>
                  </a:lnTo>
                  <a:lnTo>
                    <a:pt x="288" y="394"/>
                  </a:lnTo>
                  <a:lnTo>
                    <a:pt x="288" y="398"/>
                  </a:lnTo>
                  <a:lnTo>
                    <a:pt x="282" y="400"/>
                  </a:lnTo>
                  <a:lnTo>
                    <a:pt x="288" y="402"/>
                  </a:lnTo>
                  <a:lnTo>
                    <a:pt x="289" y="402"/>
                  </a:lnTo>
                  <a:lnTo>
                    <a:pt x="290" y="402"/>
                  </a:lnTo>
                  <a:lnTo>
                    <a:pt x="290" y="403"/>
                  </a:lnTo>
                  <a:lnTo>
                    <a:pt x="289" y="405"/>
                  </a:lnTo>
                  <a:lnTo>
                    <a:pt x="288" y="407"/>
                  </a:lnTo>
                  <a:lnTo>
                    <a:pt x="292" y="409"/>
                  </a:lnTo>
                  <a:lnTo>
                    <a:pt x="291" y="409"/>
                  </a:lnTo>
                  <a:lnTo>
                    <a:pt x="293" y="411"/>
                  </a:lnTo>
                  <a:lnTo>
                    <a:pt x="297" y="408"/>
                  </a:lnTo>
                  <a:lnTo>
                    <a:pt x="299" y="404"/>
                  </a:lnTo>
                  <a:lnTo>
                    <a:pt x="303" y="404"/>
                  </a:lnTo>
                  <a:lnTo>
                    <a:pt x="305" y="405"/>
                  </a:lnTo>
                  <a:lnTo>
                    <a:pt x="305" y="406"/>
                  </a:lnTo>
                  <a:lnTo>
                    <a:pt x="301" y="406"/>
                  </a:lnTo>
                  <a:lnTo>
                    <a:pt x="297" y="413"/>
                  </a:lnTo>
                  <a:lnTo>
                    <a:pt x="293" y="421"/>
                  </a:lnTo>
                  <a:lnTo>
                    <a:pt x="289" y="421"/>
                  </a:lnTo>
                  <a:lnTo>
                    <a:pt x="286" y="421"/>
                  </a:lnTo>
                  <a:lnTo>
                    <a:pt x="286" y="422"/>
                  </a:lnTo>
                  <a:lnTo>
                    <a:pt x="286" y="424"/>
                  </a:lnTo>
                  <a:lnTo>
                    <a:pt x="286" y="425"/>
                  </a:lnTo>
                  <a:lnTo>
                    <a:pt x="286" y="427"/>
                  </a:lnTo>
                  <a:lnTo>
                    <a:pt x="288" y="428"/>
                  </a:lnTo>
                  <a:lnTo>
                    <a:pt x="291" y="430"/>
                  </a:lnTo>
                  <a:lnTo>
                    <a:pt x="292" y="427"/>
                  </a:lnTo>
                  <a:lnTo>
                    <a:pt x="293" y="426"/>
                  </a:lnTo>
                  <a:lnTo>
                    <a:pt x="293" y="427"/>
                  </a:lnTo>
                  <a:lnTo>
                    <a:pt x="297" y="427"/>
                  </a:lnTo>
                  <a:lnTo>
                    <a:pt x="298" y="431"/>
                  </a:lnTo>
                  <a:lnTo>
                    <a:pt x="298" y="433"/>
                  </a:lnTo>
                  <a:lnTo>
                    <a:pt x="297" y="432"/>
                  </a:lnTo>
                  <a:lnTo>
                    <a:pt x="296" y="435"/>
                  </a:lnTo>
                  <a:lnTo>
                    <a:pt x="294" y="436"/>
                  </a:lnTo>
                  <a:lnTo>
                    <a:pt x="291" y="438"/>
                  </a:lnTo>
                  <a:lnTo>
                    <a:pt x="291" y="440"/>
                  </a:lnTo>
                  <a:lnTo>
                    <a:pt x="291" y="442"/>
                  </a:lnTo>
                  <a:lnTo>
                    <a:pt x="292" y="444"/>
                  </a:lnTo>
                  <a:lnTo>
                    <a:pt x="291" y="446"/>
                  </a:lnTo>
                  <a:lnTo>
                    <a:pt x="295" y="446"/>
                  </a:lnTo>
                  <a:lnTo>
                    <a:pt x="297" y="452"/>
                  </a:lnTo>
                  <a:lnTo>
                    <a:pt x="298" y="452"/>
                  </a:lnTo>
                  <a:lnTo>
                    <a:pt x="300" y="452"/>
                  </a:lnTo>
                  <a:lnTo>
                    <a:pt x="302" y="452"/>
                  </a:lnTo>
                  <a:lnTo>
                    <a:pt x="305" y="450"/>
                  </a:lnTo>
                  <a:lnTo>
                    <a:pt x="306" y="450"/>
                  </a:lnTo>
                  <a:lnTo>
                    <a:pt x="307" y="450"/>
                  </a:lnTo>
                  <a:lnTo>
                    <a:pt x="307" y="455"/>
                  </a:lnTo>
                  <a:lnTo>
                    <a:pt x="310" y="455"/>
                  </a:lnTo>
                  <a:lnTo>
                    <a:pt x="314" y="455"/>
                  </a:lnTo>
                  <a:lnTo>
                    <a:pt x="317" y="454"/>
                  </a:lnTo>
                  <a:lnTo>
                    <a:pt x="321" y="452"/>
                  </a:lnTo>
                  <a:lnTo>
                    <a:pt x="328" y="449"/>
                  </a:lnTo>
                  <a:lnTo>
                    <a:pt x="334" y="446"/>
                  </a:lnTo>
                  <a:lnTo>
                    <a:pt x="335" y="445"/>
                  </a:lnTo>
                  <a:lnTo>
                    <a:pt x="336" y="443"/>
                  </a:lnTo>
                  <a:lnTo>
                    <a:pt x="336" y="441"/>
                  </a:lnTo>
                  <a:lnTo>
                    <a:pt x="337" y="440"/>
                  </a:lnTo>
                  <a:lnTo>
                    <a:pt x="339" y="440"/>
                  </a:lnTo>
                  <a:lnTo>
                    <a:pt x="341" y="440"/>
                  </a:lnTo>
                  <a:lnTo>
                    <a:pt x="343" y="440"/>
                  </a:lnTo>
                  <a:lnTo>
                    <a:pt x="345" y="440"/>
                  </a:lnTo>
                  <a:lnTo>
                    <a:pt x="349" y="438"/>
                  </a:lnTo>
                  <a:lnTo>
                    <a:pt x="353" y="436"/>
                  </a:lnTo>
                  <a:lnTo>
                    <a:pt x="362" y="430"/>
                  </a:lnTo>
                  <a:lnTo>
                    <a:pt x="362" y="432"/>
                  </a:lnTo>
                  <a:lnTo>
                    <a:pt x="363" y="433"/>
                  </a:lnTo>
                  <a:lnTo>
                    <a:pt x="363" y="435"/>
                  </a:lnTo>
                  <a:lnTo>
                    <a:pt x="363" y="442"/>
                  </a:lnTo>
                  <a:lnTo>
                    <a:pt x="363" y="448"/>
                  </a:lnTo>
                  <a:lnTo>
                    <a:pt x="367" y="448"/>
                  </a:lnTo>
                  <a:lnTo>
                    <a:pt x="367" y="451"/>
                  </a:lnTo>
                  <a:lnTo>
                    <a:pt x="367" y="454"/>
                  </a:lnTo>
                  <a:lnTo>
                    <a:pt x="365" y="456"/>
                  </a:lnTo>
                  <a:lnTo>
                    <a:pt x="365" y="459"/>
                  </a:lnTo>
                  <a:lnTo>
                    <a:pt x="366" y="461"/>
                  </a:lnTo>
                  <a:lnTo>
                    <a:pt x="368" y="463"/>
                  </a:lnTo>
                  <a:lnTo>
                    <a:pt x="374" y="470"/>
                  </a:lnTo>
                  <a:lnTo>
                    <a:pt x="385" y="480"/>
                  </a:lnTo>
                  <a:lnTo>
                    <a:pt x="383" y="484"/>
                  </a:lnTo>
                  <a:lnTo>
                    <a:pt x="381" y="488"/>
                  </a:lnTo>
                  <a:lnTo>
                    <a:pt x="377" y="488"/>
                  </a:lnTo>
                  <a:lnTo>
                    <a:pt x="377" y="490"/>
                  </a:lnTo>
                  <a:lnTo>
                    <a:pt x="377" y="492"/>
                  </a:lnTo>
                  <a:lnTo>
                    <a:pt x="377" y="494"/>
                  </a:lnTo>
                  <a:lnTo>
                    <a:pt x="377" y="496"/>
                  </a:lnTo>
                  <a:lnTo>
                    <a:pt x="379" y="497"/>
                  </a:lnTo>
                  <a:lnTo>
                    <a:pt x="381" y="498"/>
                  </a:lnTo>
                  <a:lnTo>
                    <a:pt x="381" y="500"/>
                  </a:lnTo>
                  <a:lnTo>
                    <a:pt x="380" y="501"/>
                  </a:lnTo>
                  <a:lnTo>
                    <a:pt x="380" y="502"/>
                  </a:lnTo>
                  <a:lnTo>
                    <a:pt x="379" y="503"/>
                  </a:lnTo>
                  <a:lnTo>
                    <a:pt x="388" y="504"/>
                  </a:lnTo>
                  <a:lnTo>
                    <a:pt x="398" y="503"/>
                  </a:lnTo>
                  <a:lnTo>
                    <a:pt x="398" y="501"/>
                  </a:lnTo>
                  <a:lnTo>
                    <a:pt x="398" y="499"/>
                  </a:lnTo>
                  <a:lnTo>
                    <a:pt x="398" y="496"/>
                  </a:lnTo>
                  <a:lnTo>
                    <a:pt x="398" y="494"/>
                  </a:lnTo>
                  <a:lnTo>
                    <a:pt x="401" y="490"/>
                  </a:lnTo>
                  <a:lnTo>
                    <a:pt x="402" y="488"/>
                  </a:lnTo>
                  <a:lnTo>
                    <a:pt x="404" y="486"/>
                  </a:lnTo>
                  <a:lnTo>
                    <a:pt x="415" y="488"/>
                  </a:lnTo>
                  <a:lnTo>
                    <a:pt x="421" y="488"/>
                  </a:lnTo>
                  <a:lnTo>
                    <a:pt x="424" y="487"/>
                  </a:lnTo>
                  <a:lnTo>
                    <a:pt x="427" y="486"/>
                  </a:lnTo>
                  <a:lnTo>
                    <a:pt x="429" y="482"/>
                  </a:lnTo>
                  <a:lnTo>
                    <a:pt x="431" y="477"/>
                  </a:lnTo>
                  <a:lnTo>
                    <a:pt x="429" y="477"/>
                  </a:lnTo>
                  <a:lnTo>
                    <a:pt x="428" y="479"/>
                  </a:lnTo>
                  <a:lnTo>
                    <a:pt x="427" y="480"/>
                  </a:lnTo>
                  <a:lnTo>
                    <a:pt x="426" y="480"/>
                  </a:lnTo>
                  <a:lnTo>
                    <a:pt x="426" y="479"/>
                  </a:lnTo>
                  <a:lnTo>
                    <a:pt x="425" y="474"/>
                  </a:lnTo>
                  <a:lnTo>
                    <a:pt x="427" y="465"/>
                  </a:lnTo>
                  <a:lnTo>
                    <a:pt x="428" y="461"/>
                  </a:lnTo>
                  <a:lnTo>
                    <a:pt x="430" y="454"/>
                  </a:lnTo>
                  <a:lnTo>
                    <a:pt x="431" y="450"/>
                  </a:lnTo>
                  <a:lnTo>
                    <a:pt x="431" y="447"/>
                  </a:lnTo>
                  <a:lnTo>
                    <a:pt x="431" y="445"/>
                  </a:lnTo>
                  <a:lnTo>
                    <a:pt x="431" y="444"/>
                  </a:lnTo>
                  <a:lnTo>
                    <a:pt x="430" y="443"/>
                  </a:lnTo>
                  <a:lnTo>
                    <a:pt x="429" y="442"/>
                  </a:lnTo>
                  <a:lnTo>
                    <a:pt x="432" y="439"/>
                  </a:lnTo>
                  <a:lnTo>
                    <a:pt x="431" y="438"/>
                  </a:lnTo>
                  <a:lnTo>
                    <a:pt x="431" y="437"/>
                  </a:lnTo>
                  <a:lnTo>
                    <a:pt x="433" y="436"/>
                  </a:lnTo>
                  <a:lnTo>
                    <a:pt x="435" y="435"/>
                  </a:lnTo>
                  <a:lnTo>
                    <a:pt x="437" y="435"/>
                  </a:lnTo>
                  <a:lnTo>
                    <a:pt x="440" y="436"/>
                  </a:lnTo>
                  <a:lnTo>
                    <a:pt x="443" y="436"/>
                  </a:lnTo>
                  <a:lnTo>
                    <a:pt x="444" y="437"/>
                  </a:lnTo>
                  <a:lnTo>
                    <a:pt x="446" y="436"/>
                  </a:lnTo>
                  <a:lnTo>
                    <a:pt x="452" y="429"/>
                  </a:lnTo>
                  <a:lnTo>
                    <a:pt x="456" y="429"/>
                  </a:lnTo>
                  <a:lnTo>
                    <a:pt x="456" y="428"/>
                  </a:lnTo>
                  <a:lnTo>
                    <a:pt x="456" y="427"/>
                  </a:lnTo>
                  <a:lnTo>
                    <a:pt x="455" y="425"/>
                  </a:lnTo>
                  <a:lnTo>
                    <a:pt x="452" y="423"/>
                  </a:lnTo>
                  <a:lnTo>
                    <a:pt x="456" y="421"/>
                  </a:lnTo>
                  <a:lnTo>
                    <a:pt x="458" y="420"/>
                  </a:lnTo>
                  <a:lnTo>
                    <a:pt x="459" y="419"/>
                  </a:lnTo>
                  <a:lnTo>
                    <a:pt x="459" y="415"/>
                  </a:lnTo>
                  <a:lnTo>
                    <a:pt x="455" y="408"/>
                  </a:lnTo>
                  <a:lnTo>
                    <a:pt x="452" y="405"/>
                  </a:lnTo>
                  <a:lnTo>
                    <a:pt x="450" y="403"/>
                  </a:lnTo>
                  <a:lnTo>
                    <a:pt x="447" y="401"/>
                  </a:lnTo>
                  <a:lnTo>
                    <a:pt x="444" y="400"/>
                  </a:lnTo>
                  <a:lnTo>
                    <a:pt x="436" y="398"/>
                  </a:lnTo>
                  <a:lnTo>
                    <a:pt x="437" y="391"/>
                  </a:lnTo>
                  <a:lnTo>
                    <a:pt x="438" y="381"/>
                  </a:lnTo>
                  <a:lnTo>
                    <a:pt x="438" y="376"/>
                  </a:lnTo>
                  <a:lnTo>
                    <a:pt x="437" y="372"/>
                  </a:lnTo>
                  <a:lnTo>
                    <a:pt x="436" y="369"/>
                  </a:lnTo>
                  <a:lnTo>
                    <a:pt x="435" y="368"/>
                  </a:lnTo>
                  <a:lnTo>
                    <a:pt x="434" y="367"/>
                  </a:lnTo>
                  <a:lnTo>
                    <a:pt x="438" y="367"/>
                  </a:lnTo>
                  <a:lnTo>
                    <a:pt x="439" y="363"/>
                  </a:lnTo>
                  <a:lnTo>
                    <a:pt x="440" y="361"/>
                  </a:lnTo>
                  <a:lnTo>
                    <a:pt x="438" y="359"/>
                  </a:lnTo>
                  <a:lnTo>
                    <a:pt x="438" y="357"/>
                  </a:lnTo>
                  <a:lnTo>
                    <a:pt x="438" y="356"/>
                  </a:lnTo>
                  <a:lnTo>
                    <a:pt x="440" y="355"/>
                  </a:lnTo>
                  <a:lnTo>
                    <a:pt x="442" y="355"/>
                  </a:lnTo>
                  <a:lnTo>
                    <a:pt x="444" y="354"/>
                  </a:lnTo>
                  <a:lnTo>
                    <a:pt x="446" y="354"/>
                  </a:lnTo>
                  <a:lnTo>
                    <a:pt x="447" y="353"/>
                  </a:lnTo>
                  <a:lnTo>
                    <a:pt x="447" y="352"/>
                  </a:lnTo>
                  <a:lnTo>
                    <a:pt x="447" y="349"/>
                  </a:lnTo>
                  <a:lnTo>
                    <a:pt x="446" y="347"/>
                  </a:lnTo>
                  <a:lnTo>
                    <a:pt x="446" y="346"/>
                  </a:lnTo>
                  <a:lnTo>
                    <a:pt x="448" y="345"/>
                  </a:lnTo>
                  <a:lnTo>
                    <a:pt x="450" y="345"/>
                  </a:lnTo>
                  <a:lnTo>
                    <a:pt x="452" y="345"/>
                  </a:lnTo>
                  <a:lnTo>
                    <a:pt x="453" y="345"/>
                  </a:lnTo>
                  <a:lnTo>
                    <a:pt x="454" y="344"/>
                  </a:lnTo>
                  <a:lnTo>
                    <a:pt x="454" y="342"/>
                  </a:lnTo>
                  <a:lnTo>
                    <a:pt x="455" y="341"/>
                  </a:lnTo>
                  <a:lnTo>
                    <a:pt x="455" y="337"/>
                  </a:lnTo>
                  <a:lnTo>
                    <a:pt x="456" y="333"/>
                  </a:lnTo>
                  <a:lnTo>
                    <a:pt x="456" y="332"/>
                  </a:lnTo>
                  <a:lnTo>
                    <a:pt x="458" y="331"/>
                  </a:lnTo>
                  <a:lnTo>
                    <a:pt x="459" y="330"/>
                  </a:lnTo>
                  <a:lnTo>
                    <a:pt x="462" y="329"/>
                  </a:lnTo>
                  <a:lnTo>
                    <a:pt x="468" y="328"/>
                  </a:lnTo>
                  <a:lnTo>
                    <a:pt x="474" y="327"/>
                  </a:lnTo>
                  <a:lnTo>
                    <a:pt x="477" y="326"/>
                  </a:lnTo>
                  <a:lnTo>
                    <a:pt x="479" y="325"/>
                  </a:lnTo>
                  <a:lnTo>
                    <a:pt x="480" y="323"/>
                  </a:lnTo>
                  <a:lnTo>
                    <a:pt x="481" y="320"/>
                  </a:lnTo>
                  <a:lnTo>
                    <a:pt x="483" y="317"/>
                  </a:lnTo>
                  <a:lnTo>
                    <a:pt x="484" y="316"/>
                  </a:lnTo>
                  <a:lnTo>
                    <a:pt x="484" y="315"/>
                  </a:lnTo>
                  <a:lnTo>
                    <a:pt x="488" y="315"/>
                  </a:lnTo>
                  <a:lnTo>
                    <a:pt x="489" y="313"/>
                  </a:lnTo>
                  <a:lnTo>
                    <a:pt x="489" y="311"/>
                  </a:lnTo>
                  <a:lnTo>
                    <a:pt x="488" y="307"/>
                  </a:lnTo>
                  <a:lnTo>
                    <a:pt x="486" y="303"/>
                  </a:lnTo>
                  <a:lnTo>
                    <a:pt x="486" y="301"/>
                  </a:lnTo>
                  <a:lnTo>
                    <a:pt x="486" y="298"/>
                  </a:lnTo>
                  <a:lnTo>
                    <a:pt x="489" y="294"/>
                  </a:lnTo>
                  <a:lnTo>
                    <a:pt x="492" y="290"/>
                  </a:lnTo>
                  <a:lnTo>
                    <a:pt x="492" y="286"/>
                  </a:lnTo>
                  <a:lnTo>
                    <a:pt x="494" y="286"/>
                  </a:lnTo>
                  <a:lnTo>
                    <a:pt x="496" y="286"/>
                  </a:lnTo>
                  <a:lnTo>
                    <a:pt x="498" y="285"/>
                  </a:lnTo>
                  <a:lnTo>
                    <a:pt x="499" y="285"/>
                  </a:lnTo>
                  <a:lnTo>
                    <a:pt x="500" y="285"/>
                  </a:lnTo>
                  <a:lnTo>
                    <a:pt x="501" y="282"/>
                  </a:lnTo>
                  <a:lnTo>
                    <a:pt x="502" y="280"/>
                  </a:lnTo>
                  <a:lnTo>
                    <a:pt x="501" y="278"/>
                  </a:lnTo>
                  <a:lnTo>
                    <a:pt x="501" y="277"/>
                  </a:lnTo>
                  <a:lnTo>
                    <a:pt x="502" y="276"/>
                  </a:lnTo>
                  <a:lnTo>
                    <a:pt x="504" y="275"/>
                  </a:lnTo>
                  <a:lnTo>
                    <a:pt x="507" y="275"/>
                  </a:lnTo>
                  <a:lnTo>
                    <a:pt x="509" y="279"/>
                  </a:lnTo>
                  <a:lnTo>
                    <a:pt x="517" y="279"/>
                  </a:lnTo>
                  <a:lnTo>
                    <a:pt x="534" y="281"/>
                  </a:lnTo>
                  <a:lnTo>
                    <a:pt x="536" y="289"/>
                  </a:lnTo>
                  <a:lnTo>
                    <a:pt x="536" y="293"/>
                  </a:lnTo>
                  <a:lnTo>
                    <a:pt x="536" y="296"/>
                  </a:lnTo>
                  <a:lnTo>
                    <a:pt x="536" y="297"/>
                  </a:lnTo>
                  <a:lnTo>
                    <a:pt x="534" y="299"/>
                  </a:lnTo>
                  <a:lnTo>
                    <a:pt x="531" y="302"/>
                  </a:lnTo>
                  <a:lnTo>
                    <a:pt x="527" y="305"/>
                  </a:lnTo>
                  <a:lnTo>
                    <a:pt x="525" y="308"/>
                  </a:lnTo>
                  <a:lnTo>
                    <a:pt x="523" y="311"/>
                  </a:lnTo>
                  <a:lnTo>
                    <a:pt x="522" y="314"/>
                  </a:lnTo>
                  <a:lnTo>
                    <a:pt x="521" y="318"/>
                  </a:lnTo>
                  <a:lnTo>
                    <a:pt x="519" y="321"/>
                  </a:lnTo>
                  <a:lnTo>
                    <a:pt x="511" y="326"/>
                  </a:lnTo>
                  <a:lnTo>
                    <a:pt x="504" y="331"/>
                  </a:lnTo>
                  <a:lnTo>
                    <a:pt x="503" y="332"/>
                  </a:lnTo>
                  <a:lnTo>
                    <a:pt x="504" y="335"/>
                  </a:lnTo>
                  <a:lnTo>
                    <a:pt x="504" y="337"/>
                  </a:lnTo>
                  <a:lnTo>
                    <a:pt x="504" y="338"/>
                  </a:lnTo>
                  <a:lnTo>
                    <a:pt x="503" y="338"/>
                  </a:lnTo>
                  <a:lnTo>
                    <a:pt x="501" y="337"/>
                  </a:lnTo>
                  <a:lnTo>
                    <a:pt x="500" y="334"/>
                  </a:lnTo>
                  <a:lnTo>
                    <a:pt x="497" y="340"/>
                  </a:lnTo>
                  <a:lnTo>
                    <a:pt x="494" y="346"/>
                  </a:lnTo>
                  <a:lnTo>
                    <a:pt x="492" y="346"/>
                  </a:lnTo>
                  <a:lnTo>
                    <a:pt x="492" y="348"/>
                  </a:lnTo>
                  <a:lnTo>
                    <a:pt x="492" y="351"/>
                  </a:lnTo>
                  <a:lnTo>
                    <a:pt x="494" y="356"/>
                  </a:lnTo>
                  <a:lnTo>
                    <a:pt x="497" y="360"/>
                  </a:lnTo>
                  <a:lnTo>
                    <a:pt x="498" y="363"/>
                  </a:lnTo>
                  <a:lnTo>
                    <a:pt x="498" y="367"/>
                  </a:lnTo>
                  <a:lnTo>
                    <a:pt x="497" y="370"/>
                  </a:lnTo>
                  <a:lnTo>
                    <a:pt x="496" y="373"/>
                  </a:lnTo>
                  <a:lnTo>
                    <a:pt x="496" y="377"/>
                  </a:lnTo>
                  <a:lnTo>
                    <a:pt x="496" y="386"/>
                  </a:lnTo>
                  <a:lnTo>
                    <a:pt x="498" y="385"/>
                  </a:lnTo>
                  <a:lnTo>
                    <a:pt x="499" y="384"/>
                  </a:lnTo>
                  <a:lnTo>
                    <a:pt x="500" y="384"/>
                  </a:lnTo>
                  <a:lnTo>
                    <a:pt x="500" y="386"/>
                  </a:lnTo>
                  <a:lnTo>
                    <a:pt x="500" y="388"/>
                  </a:lnTo>
                  <a:lnTo>
                    <a:pt x="500" y="390"/>
                  </a:lnTo>
                  <a:lnTo>
                    <a:pt x="500" y="392"/>
                  </a:lnTo>
                  <a:lnTo>
                    <a:pt x="504" y="390"/>
                  </a:lnTo>
                  <a:lnTo>
                    <a:pt x="506" y="390"/>
                  </a:lnTo>
                  <a:lnTo>
                    <a:pt x="507" y="390"/>
                  </a:lnTo>
                  <a:lnTo>
                    <a:pt x="505" y="390"/>
                  </a:lnTo>
                  <a:lnTo>
                    <a:pt x="510" y="393"/>
                  </a:lnTo>
                  <a:lnTo>
                    <a:pt x="513" y="395"/>
                  </a:lnTo>
                  <a:lnTo>
                    <a:pt x="514" y="396"/>
                  </a:lnTo>
                  <a:lnTo>
                    <a:pt x="514" y="397"/>
                  </a:lnTo>
                  <a:lnTo>
                    <a:pt x="512" y="398"/>
                  </a:lnTo>
                  <a:lnTo>
                    <a:pt x="507" y="398"/>
                  </a:lnTo>
                  <a:lnTo>
                    <a:pt x="505" y="406"/>
                  </a:lnTo>
                  <a:lnTo>
                    <a:pt x="508" y="405"/>
                  </a:lnTo>
                  <a:lnTo>
                    <a:pt x="511" y="406"/>
                  </a:lnTo>
                  <a:lnTo>
                    <a:pt x="510" y="405"/>
                  </a:lnTo>
                  <a:lnTo>
                    <a:pt x="510" y="404"/>
                  </a:lnTo>
                  <a:lnTo>
                    <a:pt x="513" y="402"/>
                  </a:lnTo>
                  <a:lnTo>
                    <a:pt x="516" y="401"/>
                  </a:lnTo>
                  <a:lnTo>
                    <a:pt x="515" y="402"/>
                  </a:lnTo>
                  <a:lnTo>
                    <a:pt x="517" y="402"/>
                  </a:lnTo>
                  <a:lnTo>
                    <a:pt x="517" y="405"/>
                  </a:lnTo>
                  <a:lnTo>
                    <a:pt x="517" y="407"/>
                  </a:lnTo>
                  <a:lnTo>
                    <a:pt x="518" y="408"/>
                  </a:lnTo>
                  <a:lnTo>
                    <a:pt x="520" y="409"/>
                  </a:lnTo>
                  <a:lnTo>
                    <a:pt x="522" y="409"/>
                  </a:lnTo>
                  <a:lnTo>
                    <a:pt x="523" y="409"/>
                  </a:lnTo>
                  <a:lnTo>
                    <a:pt x="526" y="409"/>
                  </a:lnTo>
                  <a:lnTo>
                    <a:pt x="530" y="407"/>
                  </a:lnTo>
                  <a:lnTo>
                    <a:pt x="534" y="403"/>
                  </a:lnTo>
                  <a:lnTo>
                    <a:pt x="537" y="400"/>
                  </a:lnTo>
                  <a:lnTo>
                    <a:pt x="539" y="398"/>
                  </a:lnTo>
                  <a:lnTo>
                    <a:pt x="540" y="398"/>
                  </a:lnTo>
                  <a:lnTo>
                    <a:pt x="543" y="398"/>
                  </a:lnTo>
                  <a:lnTo>
                    <a:pt x="546" y="398"/>
                  </a:lnTo>
                  <a:lnTo>
                    <a:pt x="544" y="394"/>
                  </a:lnTo>
                  <a:lnTo>
                    <a:pt x="548" y="393"/>
                  </a:lnTo>
                  <a:lnTo>
                    <a:pt x="552" y="393"/>
                  </a:lnTo>
                  <a:lnTo>
                    <a:pt x="557" y="393"/>
                  </a:lnTo>
                  <a:lnTo>
                    <a:pt x="561" y="394"/>
                  </a:lnTo>
                  <a:lnTo>
                    <a:pt x="563" y="394"/>
                  </a:lnTo>
                  <a:lnTo>
                    <a:pt x="566" y="394"/>
                  </a:lnTo>
                  <a:lnTo>
                    <a:pt x="570" y="392"/>
                  </a:lnTo>
                  <a:lnTo>
                    <a:pt x="575" y="390"/>
                  </a:lnTo>
                  <a:lnTo>
                    <a:pt x="575" y="391"/>
                  </a:lnTo>
                  <a:lnTo>
                    <a:pt x="575" y="392"/>
                  </a:lnTo>
                  <a:lnTo>
                    <a:pt x="574" y="393"/>
                  </a:lnTo>
                  <a:lnTo>
                    <a:pt x="573" y="396"/>
                  </a:lnTo>
                  <a:lnTo>
                    <a:pt x="579" y="401"/>
                  </a:lnTo>
                  <a:lnTo>
                    <a:pt x="584" y="406"/>
                  </a:lnTo>
                  <a:lnTo>
                    <a:pt x="585" y="405"/>
                  </a:lnTo>
                  <a:lnTo>
                    <a:pt x="588" y="404"/>
                  </a:lnTo>
                  <a:lnTo>
                    <a:pt x="591" y="403"/>
                  </a:lnTo>
                  <a:lnTo>
                    <a:pt x="594" y="404"/>
                  </a:lnTo>
                  <a:lnTo>
                    <a:pt x="595" y="405"/>
                  </a:lnTo>
                  <a:lnTo>
                    <a:pt x="596" y="406"/>
                  </a:lnTo>
                  <a:lnTo>
                    <a:pt x="598" y="409"/>
                  </a:lnTo>
                  <a:lnTo>
                    <a:pt x="599" y="410"/>
                  </a:lnTo>
                  <a:lnTo>
                    <a:pt x="601" y="409"/>
                  </a:lnTo>
                  <a:lnTo>
                    <a:pt x="602" y="409"/>
                  </a:lnTo>
                  <a:lnTo>
                    <a:pt x="603" y="409"/>
                  </a:lnTo>
                  <a:lnTo>
                    <a:pt x="597" y="410"/>
                  </a:lnTo>
                  <a:lnTo>
                    <a:pt x="592" y="411"/>
                  </a:lnTo>
                  <a:lnTo>
                    <a:pt x="588" y="411"/>
                  </a:lnTo>
                  <a:lnTo>
                    <a:pt x="586" y="415"/>
                  </a:lnTo>
                  <a:lnTo>
                    <a:pt x="582" y="415"/>
                  </a:lnTo>
                  <a:lnTo>
                    <a:pt x="578" y="414"/>
                  </a:lnTo>
                  <a:lnTo>
                    <a:pt x="575" y="414"/>
                  </a:lnTo>
                  <a:lnTo>
                    <a:pt x="573" y="413"/>
                  </a:lnTo>
                  <a:lnTo>
                    <a:pt x="572" y="420"/>
                  </a:lnTo>
                  <a:lnTo>
                    <a:pt x="571" y="422"/>
                  </a:lnTo>
                  <a:lnTo>
                    <a:pt x="571" y="423"/>
                  </a:lnTo>
                  <a:lnTo>
                    <a:pt x="569" y="423"/>
                  </a:lnTo>
                  <a:lnTo>
                    <a:pt x="566" y="422"/>
                  </a:lnTo>
                  <a:lnTo>
                    <a:pt x="558" y="420"/>
                  </a:lnTo>
                  <a:lnTo>
                    <a:pt x="550" y="418"/>
                  </a:lnTo>
                  <a:lnTo>
                    <a:pt x="547" y="417"/>
                  </a:lnTo>
                  <a:lnTo>
                    <a:pt x="544" y="417"/>
                  </a:lnTo>
                  <a:lnTo>
                    <a:pt x="543" y="417"/>
                  </a:lnTo>
                  <a:lnTo>
                    <a:pt x="542" y="418"/>
                  </a:lnTo>
                  <a:lnTo>
                    <a:pt x="541" y="419"/>
                  </a:lnTo>
                  <a:lnTo>
                    <a:pt x="541" y="420"/>
                  </a:lnTo>
                  <a:lnTo>
                    <a:pt x="540" y="421"/>
                  </a:lnTo>
                  <a:lnTo>
                    <a:pt x="538" y="421"/>
                  </a:lnTo>
                  <a:lnTo>
                    <a:pt x="535" y="421"/>
                  </a:lnTo>
                  <a:lnTo>
                    <a:pt x="533" y="421"/>
                  </a:lnTo>
                  <a:lnTo>
                    <a:pt x="530" y="421"/>
                  </a:lnTo>
                  <a:lnTo>
                    <a:pt x="528" y="422"/>
                  </a:lnTo>
                  <a:lnTo>
                    <a:pt x="524" y="424"/>
                  </a:lnTo>
                  <a:lnTo>
                    <a:pt x="517" y="427"/>
                  </a:lnTo>
                  <a:lnTo>
                    <a:pt x="517" y="433"/>
                  </a:lnTo>
                  <a:lnTo>
                    <a:pt x="517" y="442"/>
                  </a:lnTo>
                  <a:lnTo>
                    <a:pt x="523" y="444"/>
                  </a:lnTo>
                  <a:lnTo>
                    <a:pt x="523" y="448"/>
                  </a:lnTo>
                  <a:lnTo>
                    <a:pt x="524" y="452"/>
                  </a:lnTo>
                  <a:lnTo>
                    <a:pt x="523" y="458"/>
                  </a:lnTo>
                  <a:lnTo>
                    <a:pt x="522" y="463"/>
                  </a:lnTo>
                  <a:lnTo>
                    <a:pt x="519" y="471"/>
                  </a:lnTo>
                  <a:lnTo>
                    <a:pt x="516" y="470"/>
                  </a:lnTo>
                  <a:lnTo>
                    <a:pt x="513" y="470"/>
                  </a:lnTo>
                  <a:lnTo>
                    <a:pt x="507" y="471"/>
                  </a:lnTo>
                  <a:lnTo>
                    <a:pt x="503" y="463"/>
                  </a:lnTo>
                  <a:lnTo>
                    <a:pt x="500" y="455"/>
                  </a:lnTo>
                  <a:lnTo>
                    <a:pt x="492" y="459"/>
                  </a:lnTo>
                  <a:lnTo>
                    <a:pt x="492" y="461"/>
                  </a:lnTo>
                  <a:lnTo>
                    <a:pt x="492" y="462"/>
                  </a:lnTo>
                  <a:lnTo>
                    <a:pt x="492" y="465"/>
                  </a:lnTo>
                  <a:lnTo>
                    <a:pt x="492" y="468"/>
                  </a:lnTo>
                  <a:lnTo>
                    <a:pt x="492" y="471"/>
                  </a:lnTo>
                  <a:lnTo>
                    <a:pt x="491" y="474"/>
                  </a:lnTo>
                  <a:lnTo>
                    <a:pt x="488" y="477"/>
                  </a:lnTo>
                  <a:lnTo>
                    <a:pt x="486" y="480"/>
                  </a:lnTo>
                  <a:lnTo>
                    <a:pt x="484" y="482"/>
                  </a:lnTo>
                  <a:lnTo>
                    <a:pt x="484" y="485"/>
                  </a:lnTo>
                  <a:lnTo>
                    <a:pt x="484" y="488"/>
                  </a:lnTo>
                  <a:lnTo>
                    <a:pt x="482" y="494"/>
                  </a:lnTo>
                  <a:lnTo>
                    <a:pt x="482" y="499"/>
                  </a:lnTo>
                  <a:lnTo>
                    <a:pt x="482" y="504"/>
                  </a:lnTo>
                  <a:lnTo>
                    <a:pt x="482" y="509"/>
                  </a:lnTo>
                  <a:lnTo>
                    <a:pt x="479" y="511"/>
                  </a:lnTo>
                  <a:lnTo>
                    <a:pt x="475" y="513"/>
                  </a:lnTo>
                  <a:lnTo>
                    <a:pt x="477" y="507"/>
                  </a:lnTo>
                  <a:lnTo>
                    <a:pt x="473" y="507"/>
                  </a:lnTo>
                  <a:lnTo>
                    <a:pt x="472" y="509"/>
                  </a:lnTo>
                  <a:lnTo>
                    <a:pt x="470" y="510"/>
                  </a:lnTo>
                  <a:lnTo>
                    <a:pt x="467" y="513"/>
                  </a:lnTo>
                  <a:lnTo>
                    <a:pt x="467" y="515"/>
                  </a:lnTo>
                  <a:lnTo>
                    <a:pt x="467" y="518"/>
                  </a:lnTo>
                  <a:lnTo>
                    <a:pt x="467" y="520"/>
                  </a:lnTo>
                  <a:lnTo>
                    <a:pt x="467" y="523"/>
                  </a:lnTo>
                  <a:lnTo>
                    <a:pt x="466" y="525"/>
                  </a:lnTo>
                  <a:lnTo>
                    <a:pt x="465" y="526"/>
                  </a:lnTo>
                  <a:lnTo>
                    <a:pt x="465" y="527"/>
                  </a:lnTo>
                  <a:lnTo>
                    <a:pt x="462" y="527"/>
                  </a:lnTo>
                  <a:lnTo>
                    <a:pt x="461" y="527"/>
                  </a:lnTo>
                  <a:lnTo>
                    <a:pt x="461" y="526"/>
                  </a:lnTo>
                  <a:lnTo>
                    <a:pt x="461" y="525"/>
                  </a:lnTo>
                  <a:lnTo>
                    <a:pt x="459" y="525"/>
                  </a:lnTo>
                  <a:lnTo>
                    <a:pt x="456" y="528"/>
                  </a:lnTo>
                  <a:lnTo>
                    <a:pt x="453" y="529"/>
                  </a:lnTo>
                  <a:lnTo>
                    <a:pt x="450" y="530"/>
                  </a:lnTo>
                  <a:lnTo>
                    <a:pt x="448" y="525"/>
                  </a:lnTo>
                  <a:lnTo>
                    <a:pt x="450" y="525"/>
                  </a:lnTo>
                  <a:lnTo>
                    <a:pt x="451" y="525"/>
                  </a:lnTo>
                  <a:lnTo>
                    <a:pt x="451" y="524"/>
                  </a:lnTo>
                  <a:lnTo>
                    <a:pt x="451" y="523"/>
                  </a:lnTo>
                  <a:lnTo>
                    <a:pt x="448" y="521"/>
                  </a:lnTo>
                  <a:lnTo>
                    <a:pt x="446" y="521"/>
                  </a:lnTo>
                  <a:lnTo>
                    <a:pt x="444" y="521"/>
                  </a:lnTo>
                  <a:lnTo>
                    <a:pt x="440" y="522"/>
                  </a:lnTo>
                  <a:lnTo>
                    <a:pt x="435" y="524"/>
                  </a:lnTo>
                  <a:lnTo>
                    <a:pt x="426" y="529"/>
                  </a:lnTo>
                  <a:lnTo>
                    <a:pt x="415" y="534"/>
                  </a:lnTo>
                  <a:lnTo>
                    <a:pt x="409" y="535"/>
                  </a:lnTo>
                  <a:lnTo>
                    <a:pt x="404" y="536"/>
                  </a:lnTo>
                  <a:lnTo>
                    <a:pt x="400" y="536"/>
                  </a:lnTo>
                  <a:lnTo>
                    <a:pt x="399" y="537"/>
                  </a:lnTo>
                  <a:lnTo>
                    <a:pt x="397" y="536"/>
                  </a:lnTo>
                  <a:lnTo>
                    <a:pt x="386" y="532"/>
                  </a:lnTo>
                  <a:lnTo>
                    <a:pt x="385" y="528"/>
                  </a:lnTo>
                  <a:lnTo>
                    <a:pt x="382" y="528"/>
                  </a:lnTo>
                  <a:lnTo>
                    <a:pt x="379" y="528"/>
                  </a:lnTo>
                  <a:lnTo>
                    <a:pt x="376" y="529"/>
                  </a:lnTo>
                  <a:lnTo>
                    <a:pt x="373" y="528"/>
                  </a:lnTo>
                  <a:lnTo>
                    <a:pt x="371" y="532"/>
                  </a:lnTo>
                  <a:lnTo>
                    <a:pt x="369" y="534"/>
                  </a:lnTo>
                  <a:lnTo>
                    <a:pt x="368" y="534"/>
                  </a:lnTo>
                  <a:lnTo>
                    <a:pt x="366" y="534"/>
                  </a:lnTo>
                  <a:lnTo>
                    <a:pt x="365" y="534"/>
                  </a:lnTo>
                  <a:lnTo>
                    <a:pt x="363" y="534"/>
                  </a:lnTo>
                  <a:lnTo>
                    <a:pt x="364" y="535"/>
                  </a:lnTo>
                  <a:lnTo>
                    <a:pt x="364" y="536"/>
                  </a:lnTo>
                  <a:lnTo>
                    <a:pt x="363" y="538"/>
                  </a:lnTo>
                  <a:lnTo>
                    <a:pt x="362" y="540"/>
                  </a:lnTo>
                  <a:lnTo>
                    <a:pt x="358" y="532"/>
                  </a:lnTo>
                  <a:lnTo>
                    <a:pt x="356" y="532"/>
                  </a:lnTo>
                  <a:lnTo>
                    <a:pt x="352" y="532"/>
                  </a:lnTo>
                  <a:lnTo>
                    <a:pt x="349" y="533"/>
                  </a:lnTo>
                  <a:lnTo>
                    <a:pt x="348" y="533"/>
                  </a:lnTo>
                  <a:lnTo>
                    <a:pt x="347" y="532"/>
                  </a:lnTo>
                  <a:lnTo>
                    <a:pt x="347" y="528"/>
                  </a:lnTo>
                  <a:lnTo>
                    <a:pt x="344" y="524"/>
                  </a:lnTo>
                  <a:lnTo>
                    <a:pt x="341" y="521"/>
                  </a:lnTo>
                  <a:lnTo>
                    <a:pt x="343" y="518"/>
                  </a:lnTo>
                  <a:lnTo>
                    <a:pt x="345" y="515"/>
                  </a:lnTo>
                  <a:lnTo>
                    <a:pt x="339" y="515"/>
                  </a:lnTo>
                  <a:lnTo>
                    <a:pt x="339" y="513"/>
                  </a:lnTo>
                  <a:lnTo>
                    <a:pt x="342" y="507"/>
                  </a:lnTo>
                  <a:lnTo>
                    <a:pt x="344" y="506"/>
                  </a:lnTo>
                  <a:lnTo>
                    <a:pt x="344" y="507"/>
                  </a:lnTo>
                  <a:lnTo>
                    <a:pt x="343" y="509"/>
                  </a:lnTo>
                  <a:lnTo>
                    <a:pt x="347" y="513"/>
                  </a:lnTo>
                  <a:lnTo>
                    <a:pt x="351" y="513"/>
                  </a:lnTo>
                  <a:lnTo>
                    <a:pt x="353" y="518"/>
                  </a:lnTo>
                  <a:lnTo>
                    <a:pt x="356" y="523"/>
                  </a:lnTo>
                  <a:lnTo>
                    <a:pt x="351" y="503"/>
                  </a:lnTo>
                  <a:lnTo>
                    <a:pt x="349" y="504"/>
                  </a:lnTo>
                  <a:lnTo>
                    <a:pt x="348" y="504"/>
                  </a:lnTo>
                  <a:lnTo>
                    <a:pt x="347" y="504"/>
                  </a:lnTo>
                  <a:lnTo>
                    <a:pt x="345" y="503"/>
                  </a:lnTo>
                  <a:lnTo>
                    <a:pt x="347" y="496"/>
                  </a:lnTo>
                  <a:lnTo>
                    <a:pt x="349" y="488"/>
                  </a:lnTo>
                  <a:lnTo>
                    <a:pt x="351" y="490"/>
                  </a:lnTo>
                  <a:lnTo>
                    <a:pt x="353" y="491"/>
                  </a:lnTo>
                  <a:lnTo>
                    <a:pt x="355" y="490"/>
                  </a:lnTo>
                  <a:lnTo>
                    <a:pt x="356" y="490"/>
                  </a:lnTo>
                  <a:lnTo>
                    <a:pt x="356" y="487"/>
                  </a:lnTo>
                  <a:lnTo>
                    <a:pt x="356" y="484"/>
                  </a:lnTo>
                  <a:lnTo>
                    <a:pt x="349" y="484"/>
                  </a:lnTo>
                  <a:lnTo>
                    <a:pt x="349" y="483"/>
                  </a:lnTo>
                  <a:lnTo>
                    <a:pt x="348" y="481"/>
                  </a:lnTo>
                  <a:lnTo>
                    <a:pt x="349" y="478"/>
                  </a:lnTo>
                  <a:lnTo>
                    <a:pt x="349" y="474"/>
                  </a:lnTo>
                  <a:lnTo>
                    <a:pt x="349" y="471"/>
                  </a:lnTo>
                  <a:lnTo>
                    <a:pt x="344" y="470"/>
                  </a:lnTo>
                  <a:lnTo>
                    <a:pt x="343" y="470"/>
                  </a:lnTo>
                  <a:lnTo>
                    <a:pt x="341" y="469"/>
                  </a:lnTo>
                  <a:lnTo>
                    <a:pt x="345" y="468"/>
                  </a:lnTo>
                  <a:lnTo>
                    <a:pt x="347" y="468"/>
                  </a:lnTo>
                  <a:lnTo>
                    <a:pt x="349" y="467"/>
                  </a:lnTo>
                  <a:lnTo>
                    <a:pt x="351" y="465"/>
                  </a:lnTo>
                  <a:lnTo>
                    <a:pt x="351" y="464"/>
                  </a:lnTo>
                  <a:lnTo>
                    <a:pt x="352" y="462"/>
                  </a:lnTo>
                  <a:lnTo>
                    <a:pt x="352" y="459"/>
                  </a:lnTo>
                  <a:lnTo>
                    <a:pt x="352" y="455"/>
                  </a:lnTo>
                  <a:lnTo>
                    <a:pt x="351" y="454"/>
                  </a:lnTo>
                  <a:lnTo>
                    <a:pt x="346" y="456"/>
                  </a:lnTo>
                  <a:lnTo>
                    <a:pt x="341" y="459"/>
                  </a:lnTo>
                  <a:lnTo>
                    <a:pt x="340" y="461"/>
                  </a:lnTo>
                  <a:lnTo>
                    <a:pt x="340" y="463"/>
                  </a:lnTo>
                  <a:lnTo>
                    <a:pt x="339" y="465"/>
                  </a:lnTo>
                  <a:lnTo>
                    <a:pt x="338" y="466"/>
                  </a:lnTo>
                  <a:lnTo>
                    <a:pt x="337" y="467"/>
                  </a:lnTo>
                  <a:lnTo>
                    <a:pt x="335" y="467"/>
                  </a:lnTo>
                  <a:lnTo>
                    <a:pt x="333" y="467"/>
                  </a:lnTo>
                  <a:lnTo>
                    <a:pt x="330" y="467"/>
                  </a:lnTo>
                  <a:lnTo>
                    <a:pt x="328" y="467"/>
                  </a:lnTo>
                  <a:lnTo>
                    <a:pt x="326" y="468"/>
                  </a:lnTo>
                  <a:lnTo>
                    <a:pt x="324" y="470"/>
                  </a:lnTo>
                  <a:lnTo>
                    <a:pt x="322" y="473"/>
                  </a:lnTo>
                  <a:lnTo>
                    <a:pt x="320" y="475"/>
                  </a:lnTo>
                  <a:lnTo>
                    <a:pt x="322" y="477"/>
                  </a:lnTo>
                  <a:lnTo>
                    <a:pt x="323" y="478"/>
                  </a:lnTo>
                  <a:lnTo>
                    <a:pt x="324" y="478"/>
                  </a:lnTo>
                  <a:lnTo>
                    <a:pt x="326" y="473"/>
                  </a:lnTo>
                  <a:lnTo>
                    <a:pt x="330" y="473"/>
                  </a:lnTo>
                  <a:lnTo>
                    <a:pt x="329" y="474"/>
                  </a:lnTo>
                  <a:lnTo>
                    <a:pt x="328" y="476"/>
                  </a:lnTo>
                  <a:lnTo>
                    <a:pt x="328" y="478"/>
                  </a:lnTo>
                  <a:lnTo>
                    <a:pt x="329" y="479"/>
                  </a:lnTo>
                  <a:lnTo>
                    <a:pt x="330" y="478"/>
                  </a:lnTo>
                  <a:lnTo>
                    <a:pt x="331" y="477"/>
                  </a:lnTo>
                  <a:lnTo>
                    <a:pt x="331" y="474"/>
                  </a:lnTo>
                  <a:lnTo>
                    <a:pt x="331" y="472"/>
                  </a:lnTo>
                  <a:lnTo>
                    <a:pt x="331" y="471"/>
                  </a:lnTo>
                  <a:lnTo>
                    <a:pt x="330" y="471"/>
                  </a:lnTo>
                  <a:lnTo>
                    <a:pt x="334" y="471"/>
                  </a:lnTo>
                  <a:lnTo>
                    <a:pt x="337" y="471"/>
                  </a:lnTo>
                  <a:lnTo>
                    <a:pt x="337" y="472"/>
                  </a:lnTo>
                  <a:lnTo>
                    <a:pt x="337" y="475"/>
                  </a:lnTo>
                  <a:lnTo>
                    <a:pt x="338" y="477"/>
                  </a:lnTo>
                  <a:lnTo>
                    <a:pt x="337" y="478"/>
                  </a:lnTo>
                  <a:lnTo>
                    <a:pt x="336" y="479"/>
                  </a:lnTo>
                  <a:lnTo>
                    <a:pt x="336" y="478"/>
                  </a:lnTo>
                  <a:lnTo>
                    <a:pt x="335" y="477"/>
                  </a:lnTo>
                  <a:lnTo>
                    <a:pt x="335" y="476"/>
                  </a:lnTo>
                  <a:lnTo>
                    <a:pt x="334" y="477"/>
                  </a:lnTo>
                  <a:lnTo>
                    <a:pt x="333" y="478"/>
                  </a:lnTo>
                  <a:lnTo>
                    <a:pt x="331" y="480"/>
                  </a:lnTo>
                  <a:lnTo>
                    <a:pt x="330" y="484"/>
                  </a:lnTo>
                  <a:lnTo>
                    <a:pt x="318" y="484"/>
                  </a:lnTo>
                  <a:lnTo>
                    <a:pt x="319" y="485"/>
                  </a:lnTo>
                  <a:lnTo>
                    <a:pt x="319" y="486"/>
                  </a:lnTo>
                  <a:lnTo>
                    <a:pt x="319" y="488"/>
                  </a:lnTo>
                  <a:lnTo>
                    <a:pt x="318" y="492"/>
                  </a:lnTo>
                  <a:lnTo>
                    <a:pt x="322" y="493"/>
                  </a:lnTo>
                  <a:lnTo>
                    <a:pt x="323" y="493"/>
                  </a:lnTo>
                  <a:lnTo>
                    <a:pt x="324" y="494"/>
                  </a:lnTo>
                  <a:lnTo>
                    <a:pt x="324" y="498"/>
                  </a:lnTo>
                  <a:lnTo>
                    <a:pt x="323" y="501"/>
                  </a:lnTo>
                  <a:lnTo>
                    <a:pt x="322" y="507"/>
                  </a:lnTo>
                  <a:lnTo>
                    <a:pt x="328" y="509"/>
                  </a:lnTo>
                  <a:lnTo>
                    <a:pt x="329" y="512"/>
                  </a:lnTo>
                  <a:lnTo>
                    <a:pt x="328" y="513"/>
                  </a:lnTo>
                  <a:lnTo>
                    <a:pt x="327" y="517"/>
                  </a:lnTo>
                  <a:lnTo>
                    <a:pt x="326" y="519"/>
                  </a:lnTo>
                  <a:lnTo>
                    <a:pt x="326" y="521"/>
                  </a:lnTo>
                  <a:lnTo>
                    <a:pt x="330" y="521"/>
                  </a:lnTo>
                  <a:lnTo>
                    <a:pt x="330" y="525"/>
                  </a:lnTo>
                  <a:lnTo>
                    <a:pt x="331" y="532"/>
                  </a:lnTo>
                  <a:lnTo>
                    <a:pt x="332" y="537"/>
                  </a:lnTo>
                  <a:lnTo>
                    <a:pt x="332" y="542"/>
                  </a:lnTo>
                  <a:lnTo>
                    <a:pt x="331" y="543"/>
                  </a:lnTo>
                  <a:lnTo>
                    <a:pt x="330" y="542"/>
                  </a:lnTo>
                  <a:lnTo>
                    <a:pt x="330" y="540"/>
                  </a:lnTo>
                  <a:lnTo>
                    <a:pt x="329" y="541"/>
                  </a:lnTo>
                  <a:lnTo>
                    <a:pt x="327" y="543"/>
                  </a:lnTo>
                  <a:lnTo>
                    <a:pt x="326" y="548"/>
                  </a:lnTo>
                  <a:lnTo>
                    <a:pt x="323" y="547"/>
                  </a:lnTo>
                  <a:lnTo>
                    <a:pt x="321" y="546"/>
                  </a:lnTo>
                  <a:lnTo>
                    <a:pt x="320" y="546"/>
                  </a:lnTo>
                  <a:lnTo>
                    <a:pt x="318" y="545"/>
                  </a:lnTo>
                  <a:lnTo>
                    <a:pt x="316" y="546"/>
                  </a:lnTo>
                  <a:lnTo>
                    <a:pt x="315" y="546"/>
                  </a:lnTo>
                  <a:lnTo>
                    <a:pt x="314" y="548"/>
                  </a:lnTo>
                  <a:lnTo>
                    <a:pt x="312" y="549"/>
                  </a:lnTo>
                  <a:lnTo>
                    <a:pt x="311" y="550"/>
                  </a:lnTo>
                  <a:lnTo>
                    <a:pt x="311" y="551"/>
                  </a:lnTo>
                  <a:lnTo>
                    <a:pt x="309" y="551"/>
                  </a:lnTo>
                  <a:lnTo>
                    <a:pt x="307" y="551"/>
                  </a:lnTo>
                  <a:lnTo>
                    <a:pt x="301" y="550"/>
                  </a:lnTo>
                  <a:lnTo>
                    <a:pt x="295" y="549"/>
                  </a:lnTo>
                  <a:lnTo>
                    <a:pt x="292" y="549"/>
                  </a:lnTo>
                  <a:lnTo>
                    <a:pt x="289" y="550"/>
                  </a:lnTo>
                  <a:lnTo>
                    <a:pt x="288" y="555"/>
                  </a:lnTo>
                  <a:lnTo>
                    <a:pt x="286" y="556"/>
                  </a:lnTo>
                  <a:lnTo>
                    <a:pt x="284" y="556"/>
                  </a:lnTo>
                  <a:lnTo>
                    <a:pt x="282" y="556"/>
                  </a:lnTo>
                  <a:lnTo>
                    <a:pt x="280" y="557"/>
                  </a:lnTo>
                  <a:lnTo>
                    <a:pt x="279" y="558"/>
                  </a:lnTo>
                  <a:lnTo>
                    <a:pt x="278" y="559"/>
                  </a:lnTo>
                  <a:lnTo>
                    <a:pt x="277" y="562"/>
                  </a:lnTo>
                  <a:lnTo>
                    <a:pt x="275" y="569"/>
                  </a:lnTo>
                  <a:lnTo>
                    <a:pt x="275" y="576"/>
                  </a:lnTo>
                  <a:lnTo>
                    <a:pt x="274" y="582"/>
                  </a:lnTo>
                  <a:lnTo>
                    <a:pt x="262" y="583"/>
                  </a:lnTo>
                  <a:lnTo>
                    <a:pt x="254" y="584"/>
                  </a:lnTo>
                  <a:lnTo>
                    <a:pt x="246" y="586"/>
                  </a:lnTo>
                  <a:lnTo>
                    <a:pt x="236" y="590"/>
                  </a:lnTo>
                  <a:lnTo>
                    <a:pt x="238" y="606"/>
                  </a:lnTo>
                  <a:lnTo>
                    <a:pt x="230" y="608"/>
                  </a:lnTo>
                  <a:lnTo>
                    <a:pt x="227" y="608"/>
                  </a:lnTo>
                  <a:lnTo>
                    <a:pt x="224" y="610"/>
                  </a:lnTo>
                  <a:lnTo>
                    <a:pt x="224" y="612"/>
                  </a:lnTo>
                  <a:lnTo>
                    <a:pt x="223" y="614"/>
                  </a:lnTo>
                  <a:lnTo>
                    <a:pt x="222" y="618"/>
                  </a:lnTo>
                  <a:lnTo>
                    <a:pt x="220" y="619"/>
                  </a:lnTo>
                  <a:lnTo>
                    <a:pt x="217" y="619"/>
                  </a:lnTo>
                  <a:lnTo>
                    <a:pt x="212" y="619"/>
                  </a:lnTo>
                  <a:lnTo>
                    <a:pt x="203" y="618"/>
                  </a:lnTo>
                  <a:lnTo>
                    <a:pt x="203" y="612"/>
                  </a:lnTo>
                  <a:lnTo>
                    <a:pt x="202" y="612"/>
                  </a:lnTo>
                  <a:lnTo>
                    <a:pt x="200" y="612"/>
                  </a:lnTo>
                  <a:lnTo>
                    <a:pt x="197" y="613"/>
                  </a:lnTo>
                  <a:lnTo>
                    <a:pt x="195" y="615"/>
                  </a:lnTo>
                  <a:lnTo>
                    <a:pt x="195" y="616"/>
                  </a:lnTo>
                  <a:lnTo>
                    <a:pt x="196" y="619"/>
                  </a:lnTo>
                  <a:lnTo>
                    <a:pt x="198" y="623"/>
                  </a:lnTo>
                  <a:lnTo>
                    <a:pt x="201" y="631"/>
                  </a:lnTo>
                  <a:lnTo>
                    <a:pt x="201" y="635"/>
                  </a:lnTo>
                  <a:lnTo>
                    <a:pt x="198" y="635"/>
                  </a:lnTo>
                  <a:lnTo>
                    <a:pt x="195" y="634"/>
                  </a:lnTo>
                  <a:lnTo>
                    <a:pt x="193" y="633"/>
                  </a:lnTo>
                  <a:lnTo>
                    <a:pt x="190" y="633"/>
                  </a:lnTo>
                  <a:lnTo>
                    <a:pt x="184" y="637"/>
                  </a:lnTo>
                  <a:lnTo>
                    <a:pt x="181" y="636"/>
                  </a:lnTo>
                  <a:lnTo>
                    <a:pt x="180" y="635"/>
                  </a:lnTo>
                  <a:lnTo>
                    <a:pt x="180" y="634"/>
                  </a:lnTo>
                  <a:lnTo>
                    <a:pt x="178" y="633"/>
                  </a:lnTo>
                  <a:lnTo>
                    <a:pt x="172" y="634"/>
                  </a:lnTo>
                  <a:lnTo>
                    <a:pt x="166" y="635"/>
                  </a:lnTo>
                  <a:lnTo>
                    <a:pt x="163" y="636"/>
                  </a:lnTo>
                  <a:lnTo>
                    <a:pt x="161" y="637"/>
                  </a:lnTo>
                  <a:lnTo>
                    <a:pt x="159" y="637"/>
                  </a:lnTo>
                  <a:lnTo>
                    <a:pt x="165" y="641"/>
                  </a:lnTo>
                  <a:lnTo>
                    <a:pt x="162" y="642"/>
                  </a:lnTo>
                  <a:lnTo>
                    <a:pt x="159" y="643"/>
                  </a:lnTo>
                  <a:lnTo>
                    <a:pt x="160" y="646"/>
                  </a:lnTo>
                  <a:lnTo>
                    <a:pt x="160" y="649"/>
                  </a:lnTo>
                  <a:lnTo>
                    <a:pt x="159" y="650"/>
                  </a:lnTo>
                  <a:lnTo>
                    <a:pt x="168" y="651"/>
                  </a:lnTo>
                  <a:lnTo>
                    <a:pt x="171" y="652"/>
                  </a:lnTo>
                  <a:lnTo>
                    <a:pt x="176" y="654"/>
                  </a:lnTo>
                  <a:lnTo>
                    <a:pt x="176" y="658"/>
                  </a:lnTo>
                  <a:lnTo>
                    <a:pt x="184" y="654"/>
                  </a:lnTo>
                  <a:lnTo>
                    <a:pt x="182" y="660"/>
                  </a:lnTo>
                  <a:lnTo>
                    <a:pt x="184" y="661"/>
                  </a:lnTo>
                  <a:lnTo>
                    <a:pt x="185" y="661"/>
                  </a:lnTo>
                  <a:lnTo>
                    <a:pt x="186" y="664"/>
                  </a:lnTo>
                  <a:lnTo>
                    <a:pt x="189" y="664"/>
                  </a:lnTo>
                  <a:lnTo>
                    <a:pt x="192" y="664"/>
                  </a:lnTo>
                  <a:lnTo>
                    <a:pt x="190" y="669"/>
                  </a:lnTo>
                  <a:lnTo>
                    <a:pt x="189" y="672"/>
                  </a:lnTo>
                  <a:lnTo>
                    <a:pt x="189" y="674"/>
                  </a:lnTo>
                  <a:lnTo>
                    <a:pt x="190" y="675"/>
                  </a:lnTo>
                  <a:lnTo>
                    <a:pt x="191" y="677"/>
                  </a:lnTo>
                  <a:lnTo>
                    <a:pt x="193" y="679"/>
                  </a:lnTo>
                  <a:lnTo>
                    <a:pt x="197" y="681"/>
                  </a:lnTo>
                  <a:lnTo>
                    <a:pt x="207" y="685"/>
                  </a:lnTo>
                  <a:lnTo>
                    <a:pt x="208" y="699"/>
                  </a:lnTo>
                  <a:lnTo>
                    <a:pt x="207" y="710"/>
                  </a:lnTo>
                  <a:lnTo>
                    <a:pt x="206" y="720"/>
                  </a:lnTo>
                  <a:lnTo>
                    <a:pt x="203" y="7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1814" y="2099"/>
              <a:ext cx="77" cy="31"/>
            </a:xfrm>
            <a:custGeom>
              <a:avLst/>
              <a:gdLst>
                <a:gd name="T0" fmla="*/ 37 w 77"/>
                <a:gd name="T1" fmla="*/ 26 h 31"/>
                <a:gd name="T2" fmla="*/ 38 w 77"/>
                <a:gd name="T3" fmla="*/ 28 h 31"/>
                <a:gd name="T4" fmla="*/ 38 w 77"/>
                <a:gd name="T5" fmla="*/ 29 h 31"/>
                <a:gd name="T6" fmla="*/ 39 w 77"/>
                <a:gd name="T7" fmla="*/ 30 h 31"/>
                <a:gd name="T8" fmla="*/ 41 w 77"/>
                <a:gd name="T9" fmla="*/ 31 h 31"/>
                <a:gd name="T10" fmla="*/ 41 w 77"/>
                <a:gd name="T11" fmla="*/ 30 h 31"/>
                <a:gd name="T12" fmla="*/ 42 w 77"/>
                <a:gd name="T13" fmla="*/ 29 h 31"/>
                <a:gd name="T14" fmla="*/ 45 w 77"/>
                <a:gd name="T15" fmla="*/ 28 h 31"/>
                <a:gd name="T16" fmla="*/ 43 w 77"/>
                <a:gd name="T17" fmla="*/ 24 h 31"/>
                <a:gd name="T18" fmla="*/ 42 w 77"/>
                <a:gd name="T19" fmla="*/ 22 h 31"/>
                <a:gd name="T20" fmla="*/ 43 w 77"/>
                <a:gd name="T21" fmla="*/ 20 h 31"/>
                <a:gd name="T22" fmla="*/ 46 w 77"/>
                <a:gd name="T23" fmla="*/ 22 h 31"/>
                <a:gd name="T24" fmla="*/ 50 w 77"/>
                <a:gd name="T25" fmla="*/ 24 h 31"/>
                <a:gd name="T26" fmla="*/ 52 w 77"/>
                <a:gd name="T27" fmla="*/ 25 h 31"/>
                <a:gd name="T28" fmla="*/ 54 w 77"/>
                <a:gd name="T29" fmla="*/ 25 h 31"/>
                <a:gd name="T30" fmla="*/ 56 w 77"/>
                <a:gd name="T31" fmla="*/ 26 h 31"/>
                <a:gd name="T32" fmla="*/ 58 w 77"/>
                <a:gd name="T33" fmla="*/ 23 h 31"/>
                <a:gd name="T34" fmla="*/ 60 w 77"/>
                <a:gd name="T35" fmla="*/ 20 h 31"/>
                <a:gd name="T36" fmla="*/ 71 w 77"/>
                <a:gd name="T37" fmla="*/ 20 h 31"/>
                <a:gd name="T38" fmla="*/ 73 w 77"/>
                <a:gd name="T39" fmla="*/ 21 h 31"/>
                <a:gd name="T40" fmla="*/ 77 w 77"/>
                <a:gd name="T41" fmla="*/ 22 h 31"/>
                <a:gd name="T42" fmla="*/ 76 w 77"/>
                <a:gd name="T43" fmla="*/ 18 h 31"/>
                <a:gd name="T44" fmla="*/ 75 w 77"/>
                <a:gd name="T45" fmla="*/ 15 h 31"/>
                <a:gd name="T46" fmla="*/ 74 w 77"/>
                <a:gd name="T47" fmla="*/ 14 h 31"/>
                <a:gd name="T48" fmla="*/ 74 w 77"/>
                <a:gd name="T49" fmla="*/ 12 h 31"/>
                <a:gd name="T50" fmla="*/ 71 w 77"/>
                <a:gd name="T51" fmla="*/ 10 h 31"/>
                <a:gd name="T52" fmla="*/ 70 w 77"/>
                <a:gd name="T53" fmla="*/ 10 h 31"/>
                <a:gd name="T54" fmla="*/ 68 w 77"/>
                <a:gd name="T55" fmla="*/ 11 h 31"/>
                <a:gd name="T56" fmla="*/ 65 w 77"/>
                <a:gd name="T57" fmla="*/ 11 h 31"/>
                <a:gd name="T58" fmla="*/ 62 w 77"/>
                <a:gd name="T59" fmla="*/ 10 h 31"/>
                <a:gd name="T60" fmla="*/ 59 w 77"/>
                <a:gd name="T61" fmla="*/ 8 h 31"/>
                <a:gd name="T62" fmla="*/ 55 w 77"/>
                <a:gd name="T63" fmla="*/ 5 h 31"/>
                <a:gd name="T64" fmla="*/ 52 w 77"/>
                <a:gd name="T65" fmla="*/ 2 h 31"/>
                <a:gd name="T66" fmla="*/ 50 w 77"/>
                <a:gd name="T67" fmla="*/ 1 h 31"/>
                <a:gd name="T68" fmla="*/ 48 w 77"/>
                <a:gd name="T69" fmla="*/ 1 h 31"/>
                <a:gd name="T70" fmla="*/ 40 w 77"/>
                <a:gd name="T71" fmla="*/ 0 h 31"/>
                <a:gd name="T72" fmla="*/ 32 w 77"/>
                <a:gd name="T73" fmla="*/ 1 h 31"/>
                <a:gd name="T74" fmla="*/ 25 w 77"/>
                <a:gd name="T75" fmla="*/ 1 h 31"/>
                <a:gd name="T76" fmla="*/ 21 w 77"/>
                <a:gd name="T77" fmla="*/ 1 h 31"/>
                <a:gd name="T78" fmla="*/ 18 w 77"/>
                <a:gd name="T79" fmla="*/ 1 h 31"/>
                <a:gd name="T80" fmla="*/ 20 w 77"/>
                <a:gd name="T81" fmla="*/ 2 h 31"/>
                <a:gd name="T82" fmla="*/ 23 w 77"/>
                <a:gd name="T83" fmla="*/ 3 h 31"/>
                <a:gd name="T84" fmla="*/ 22 w 77"/>
                <a:gd name="T85" fmla="*/ 6 h 31"/>
                <a:gd name="T86" fmla="*/ 22 w 77"/>
                <a:gd name="T87" fmla="*/ 7 h 31"/>
                <a:gd name="T88" fmla="*/ 22 w 77"/>
                <a:gd name="T89" fmla="*/ 8 h 31"/>
                <a:gd name="T90" fmla="*/ 22 w 77"/>
                <a:gd name="T91" fmla="*/ 10 h 31"/>
                <a:gd name="T92" fmla="*/ 23 w 77"/>
                <a:gd name="T93" fmla="*/ 14 h 31"/>
                <a:gd name="T94" fmla="*/ 25 w 77"/>
                <a:gd name="T95" fmla="*/ 14 h 31"/>
                <a:gd name="T96" fmla="*/ 26 w 77"/>
                <a:gd name="T97" fmla="*/ 15 h 31"/>
                <a:gd name="T98" fmla="*/ 27 w 77"/>
                <a:gd name="T99" fmla="*/ 16 h 31"/>
                <a:gd name="T100" fmla="*/ 27 w 77"/>
                <a:gd name="T101" fmla="*/ 17 h 31"/>
                <a:gd name="T102" fmla="*/ 26 w 77"/>
                <a:gd name="T103" fmla="*/ 20 h 31"/>
                <a:gd name="T104" fmla="*/ 25 w 77"/>
                <a:gd name="T105" fmla="*/ 22 h 31"/>
                <a:gd name="T106" fmla="*/ 12 w 77"/>
                <a:gd name="T107" fmla="*/ 20 h 31"/>
                <a:gd name="T108" fmla="*/ 7 w 77"/>
                <a:gd name="T109" fmla="*/ 18 h 31"/>
                <a:gd name="T110" fmla="*/ 2 w 77"/>
                <a:gd name="T111" fmla="*/ 16 h 31"/>
                <a:gd name="T112" fmla="*/ 0 w 77"/>
                <a:gd name="T113" fmla="*/ 24 h 31"/>
                <a:gd name="T114" fmla="*/ 3 w 77"/>
                <a:gd name="T115" fmla="*/ 25 h 31"/>
                <a:gd name="T116" fmla="*/ 5 w 77"/>
                <a:gd name="T117" fmla="*/ 25 h 31"/>
                <a:gd name="T118" fmla="*/ 4 w 77"/>
                <a:gd name="T119" fmla="*/ 26 h 31"/>
                <a:gd name="T120" fmla="*/ 37 w 77"/>
                <a:gd name="T121" fmla="*/ 26 h 3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77"/>
                <a:gd name="T184" fmla="*/ 0 h 31"/>
                <a:gd name="T185" fmla="*/ 77 w 77"/>
                <a:gd name="T186" fmla="*/ 31 h 3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77" h="31">
                  <a:moveTo>
                    <a:pt x="37" y="26"/>
                  </a:moveTo>
                  <a:lnTo>
                    <a:pt x="38" y="28"/>
                  </a:lnTo>
                  <a:lnTo>
                    <a:pt x="38" y="29"/>
                  </a:lnTo>
                  <a:lnTo>
                    <a:pt x="39" y="30"/>
                  </a:lnTo>
                  <a:lnTo>
                    <a:pt x="41" y="31"/>
                  </a:lnTo>
                  <a:lnTo>
                    <a:pt x="41" y="30"/>
                  </a:lnTo>
                  <a:lnTo>
                    <a:pt x="42" y="29"/>
                  </a:lnTo>
                  <a:lnTo>
                    <a:pt x="45" y="28"/>
                  </a:lnTo>
                  <a:lnTo>
                    <a:pt x="43" y="24"/>
                  </a:lnTo>
                  <a:lnTo>
                    <a:pt x="42" y="22"/>
                  </a:lnTo>
                  <a:lnTo>
                    <a:pt x="43" y="20"/>
                  </a:lnTo>
                  <a:lnTo>
                    <a:pt x="46" y="22"/>
                  </a:lnTo>
                  <a:lnTo>
                    <a:pt x="50" y="24"/>
                  </a:lnTo>
                  <a:lnTo>
                    <a:pt x="52" y="25"/>
                  </a:lnTo>
                  <a:lnTo>
                    <a:pt x="54" y="25"/>
                  </a:lnTo>
                  <a:lnTo>
                    <a:pt x="56" y="26"/>
                  </a:lnTo>
                  <a:lnTo>
                    <a:pt x="58" y="23"/>
                  </a:lnTo>
                  <a:lnTo>
                    <a:pt x="60" y="20"/>
                  </a:lnTo>
                  <a:lnTo>
                    <a:pt x="71" y="20"/>
                  </a:lnTo>
                  <a:lnTo>
                    <a:pt x="73" y="21"/>
                  </a:lnTo>
                  <a:lnTo>
                    <a:pt x="77" y="22"/>
                  </a:lnTo>
                  <a:lnTo>
                    <a:pt x="76" y="18"/>
                  </a:lnTo>
                  <a:lnTo>
                    <a:pt x="75" y="15"/>
                  </a:lnTo>
                  <a:lnTo>
                    <a:pt x="74" y="14"/>
                  </a:lnTo>
                  <a:lnTo>
                    <a:pt x="74" y="12"/>
                  </a:lnTo>
                  <a:lnTo>
                    <a:pt x="71" y="10"/>
                  </a:lnTo>
                  <a:lnTo>
                    <a:pt x="70" y="10"/>
                  </a:lnTo>
                  <a:lnTo>
                    <a:pt x="68" y="11"/>
                  </a:lnTo>
                  <a:lnTo>
                    <a:pt x="65" y="11"/>
                  </a:lnTo>
                  <a:lnTo>
                    <a:pt x="62" y="10"/>
                  </a:lnTo>
                  <a:lnTo>
                    <a:pt x="59" y="8"/>
                  </a:lnTo>
                  <a:lnTo>
                    <a:pt x="55" y="5"/>
                  </a:lnTo>
                  <a:lnTo>
                    <a:pt x="52" y="2"/>
                  </a:lnTo>
                  <a:lnTo>
                    <a:pt x="50" y="1"/>
                  </a:lnTo>
                  <a:lnTo>
                    <a:pt x="48" y="1"/>
                  </a:lnTo>
                  <a:lnTo>
                    <a:pt x="40" y="0"/>
                  </a:lnTo>
                  <a:lnTo>
                    <a:pt x="32" y="1"/>
                  </a:lnTo>
                  <a:lnTo>
                    <a:pt x="25" y="1"/>
                  </a:lnTo>
                  <a:lnTo>
                    <a:pt x="21" y="1"/>
                  </a:lnTo>
                  <a:lnTo>
                    <a:pt x="18" y="1"/>
                  </a:lnTo>
                  <a:lnTo>
                    <a:pt x="20" y="2"/>
                  </a:lnTo>
                  <a:lnTo>
                    <a:pt x="23" y="3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8"/>
                  </a:lnTo>
                  <a:lnTo>
                    <a:pt x="22" y="10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6" y="15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6" y="20"/>
                  </a:lnTo>
                  <a:lnTo>
                    <a:pt x="25" y="22"/>
                  </a:lnTo>
                  <a:lnTo>
                    <a:pt x="12" y="20"/>
                  </a:lnTo>
                  <a:lnTo>
                    <a:pt x="7" y="18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3" y="25"/>
                  </a:lnTo>
                  <a:lnTo>
                    <a:pt x="5" y="25"/>
                  </a:lnTo>
                  <a:lnTo>
                    <a:pt x="4" y="26"/>
                  </a:lnTo>
                  <a:lnTo>
                    <a:pt x="37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650" y="1129"/>
              <a:ext cx="1660" cy="2212"/>
            </a:xfrm>
            <a:custGeom>
              <a:avLst/>
              <a:gdLst>
                <a:gd name="T0" fmla="*/ 1533 w 1660"/>
                <a:gd name="T1" fmla="*/ 1644 h 2212"/>
                <a:gd name="T2" fmla="*/ 1646 w 1660"/>
                <a:gd name="T3" fmla="*/ 1436 h 2212"/>
                <a:gd name="T4" fmla="*/ 1499 w 1660"/>
                <a:gd name="T5" fmla="*/ 1290 h 2212"/>
                <a:gd name="T6" fmla="*/ 1383 w 1660"/>
                <a:gd name="T7" fmla="*/ 1187 h 2212"/>
                <a:gd name="T8" fmla="*/ 1313 w 1660"/>
                <a:gd name="T9" fmla="*/ 1125 h 2212"/>
                <a:gd name="T10" fmla="*/ 1199 w 1660"/>
                <a:gd name="T11" fmla="*/ 1118 h 2212"/>
                <a:gd name="T12" fmla="*/ 1046 w 1660"/>
                <a:gd name="T13" fmla="*/ 1040 h 2212"/>
                <a:gd name="T14" fmla="*/ 931 w 1660"/>
                <a:gd name="T15" fmla="*/ 993 h 2212"/>
                <a:gd name="T16" fmla="*/ 889 w 1660"/>
                <a:gd name="T17" fmla="*/ 836 h 2212"/>
                <a:gd name="T18" fmla="*/ 997 w 1660"/>
                <a:gd name="T19" fmla="*/ 796 h 2212"/>
                <a:gd name="T20" fmla="*/ 1084 w 1660"/>
                <a:gd name="T21" fmla="*/ 825 h 2212"/>
                <a:gd name="T22" fmla="*/ 1145 w 1660"/>
                <a:gd name="T23" fmla="*/ 712 h 2212"/>
                <a:gd name="T24" fmla="*/ 1157 w 1660"/>
                <a:gd name="T25" fmla="*/ 652 h 2212"/>
                <a:gd name="T26" fmla="*/ 1267 w 1660"/>
                <a:gd name="T27" fmla="*/ 546 h 2212"/>
                <a:gd name="T28" fmla="*/ 1314 w 1660"/>
                <a:gd name="T29" fmla="*/ 554 h 2212"/>
                <a:gd name="T30" fmla="*/ 1293 w 1660"/>
                <a:gd name="T31" fmla="*/ 473 h 2212"/>
                <a:gd name="T32" fmla="*/ 1322 w 1660"/>
                <a:gd name="T33" fmla="*/ 444 h 2212"/>
                <a:gd name="T34" fmla="*/ 1354 w 1660"/>
                <a:gd name="T35" fmla="*/ 384 h 2212"/>
                <a:gd name="T36" fmla="*/ 1316 w 1660"/>
                <a:gd name="T37" fmla="*/ 288 h 2212"/>
                <a:gd name="T38" fmla="*/ 1227 w 1660"/>
                <a:gd name="T39" fmla="*/ 230 h 2212"/>
                <a:gd name="T40" fmla="*/ 1126 w 1660"/>
                <a:gd name="T41" fmla="*/ 257 h 2212"/>
                <a:gd name="T42" fmla="*/ 1077 w 1660"/>
                <a:gd name="T43" fmla="*/ 403 h 2212"/>
                <a:gd name="T44" fmla="*/ 922 w 1660"/>
                <a:gd name="T45" fmla="*/ 275 h 2212"/>
                <a:gd name="T46" fmla="*/ 961 w 1660"/>
                <a:gd name="T47" fmla="*/ 179 h 2212"/>
                <a:gd name="T48" fmla="*/ 1040 w 1660"/>
                <a:gd name="T49" fmla="*/ 121 h 2212"/>
                <a:gd name="T50" fmla="*/ 1032 w 1660"/>
                <a:gd name="T51" fmla="*/ 63 h 2212"/>
                <a:gd name="T52" fmla="*/ 946 w 1660"/>
                <a:gd name="T53" fmla="*/ 35 h 2212"/>
                <a:gd name="T54" fmla="*/ 917 w 1660"/>
                <a:gd name="T55" fmla="*/ 40 h 2212"/>
                <a:gd name="T56" fmla="*/ 839 w 1660"/>
                <a:gd name="T57" fmla="*/ 83 h 2212"/>
                <a:gd name="T58" fmla="*/ 742 w 1660"/>
                <a:gd name="T59" fmla="*/ 104 h 2212"/>
                <a:gd name="T60" fmla="*/ 619 w 1660"/>
                <a:gd name="T61" fmla="*/ 59 h 2212"/>
                <a:gd name="T62" fmla="*/ 442 w 1660"/>
                <a:gd name="T63" fmla="*/ 63 h 2212"/>
                <a:gd name="T64" fmla="*/ 404 w 1660"/>
                <a:gd name="T65" fmla="*/ 62 h 2212"/>
                <a:gd name="T66" fmla="*/ 149 w 1660"/>
                <a:gd name="T67" fmla="*/ 12 h 2212"/>
                <a:gd name="T68" fmla="*/ 44 w 1660"/>
                <a:gd name="T69" fmla="*/ 92 h 2212"/>
                <a:gd name="T70" fmla="*/ 15 w 1660"/>
                <a:gd name="T71" fmla="*/ 145 h 2212"/>
                <a:gd name="T72" fmla="*/ 42 w 1660"/>
                <a:gd name="T73" fmla="*/ 226 h 2212"/>
                <a:gd name="T74" fmla="*/ 104 w 1660"/>
                <a:gd name="T75" fmla="*/ 268 h 2212"/>
                <a:gd name="T76" fmla="*/ 108 w 1660"/>
                <a:gd name="T77" fmla="*/ 336 h 2212"/>
                <a:gd name="T78" fmla="*/ 201 w 1660"/>
                <a:gd name="T79" fmla="*/ 227 h 2212"/>
                <a:gd name="T80" fmla="*/ 256 w 1660"/>
                <a:gd name="T81" fmla="*/ 227 h 2212"/>
                <a:gd name="T82" fmla="*/ 396 w 1660"/>
                <a:gd name="T83" fmla="*/ 298 h 2212"/>
                <a:gd name="T84" fmla="*/ 413 w 1660"/>
                <a:gd name="T85" fmla="*/ 292 h 2212"/>
                <a:gd name="T86" fmla="*/ 472 w 1660"/>
                <a:gd name="T87" fmla="*/ 364 h 2212"/>
                <a:gd name="T88" fmla="*/ 534 w 1660"/>
                <a:gd name="T89" fmla="*/ 464 h 2212"/>
                <a:gd name="T90" fmla="*/ 551 w 1660"/>
                <a:gd name="T91" fmla="*/ 501 h 2212"/>
                <a:gd name="T92" fmla="*/ 597 w 1660"/>
                <a:gd name="T93" fmla="*/ 733 h 2212"/>
                <a:gd name="T94" fmla="*/ 728 w 1660"/>
                <a:gd name="T95" fmla="*/ 917 h 2212"/>
                <a:gd name="T96" fmla="*/ 691 w 1660"/>
                <a:gd name="T97" fmla="*/ 800 h 2212"/>
                <a:gd name="T98" fmla="*/ 779 w 1660"/>
                <a:gd name="T99" fmla="*/ 963 h 2212"/>
                <a:gd name="T100" fmla="*/ 1001 w 1660"/>
                <a:gd name="T101" fmla="*/ 1070 h 2212"/>
                <a:gd name="T102" fmla="*/ 1099 w 1660"/>
                <a:gd name="T103" fmla="*/ 1143 h 2212"/>
                <a:gd name="T104" fmla="*/ 1086 w 1660"/>
                <a:gd name="T105" fmla="*/ 1320 h 2212"/>
                <a:gd name="T106" fmla="*/ 1159 w 1660"/>
                <a:gd name="T107" fmla="*/ 1522 h 2212"/>
                <a:gd name="T108" fmla="*/ 1189 w 1660"/>
                <a:gd name="T109" fmla="*/ 1852 h 2212"/>
                <a:gd name="T110" fmla="*/ 1162 w 1660"/>
                <a:gd name="T111" fmla="*/ 2052 h 2212"/>
                <a:gd name="T112" fmla="*/ 1167 w 1660"/>
                <a:gd name="T113" fmla="*/ 2118 h 2212"/>
                <a:gd name="T114" fmla="*/ 1172 w 1660"/>
                <a:gd name="T115" fmla="*/ 2155 h 2212"/>
                <a:gd name="T116" fmla="*/ 1194 w 1660"/>
                <a:gd name="T117" fmla="*/ 2171 h 2212"/>
                <a:gd name="T118" fmla="*/ 1257 w 1660"/>
                <a:gd name="T119" fmla="*/ 2198 h 2212"/>
                <a:gd name="T120" fmla="*/ 1270 w 1660"/>
                <a:gd name="T121" fmla="*/ 2063 h 2212"/>
                <a:gd name="T122" fmla="*/ 1283 w 1660"/>
                <a:gd name="T123" fmla="*/ 1939 h 2212"/>
                <a:gd name="T124" fmla="*/ 1366 w 1660"/>
                <a:gd name="T125" fmla="*/ 1805 h 221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60"/>
                <a:gd name="T190" fmla="*/ 0 h 2212"/>
                <a:gd name="T191" fmla="*/ 1660 w 1660"/>
                <a:gd name="T192" fmla="*/ 2212 h 221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60" h="2212">
                  <a:moveTo>
                    <a:pt x="1429" y="1813"/>
                  </a:moveTo>
                  <a:lnTo>
                    <a:pt x="1433" y="1806"/>
                  </a:lnTo>
                  <a:lnTo>
                    <a:pt x="1435" y="1801"/>
                  </a:lnTo>
                  <a:lnTo>
                    <a:pt x="1435" y="1798"/>
                  </a:lnTo>
                  <a:lnTo>
                    <a:pt x="1434" y="1796"/>
                  </a:lnTo>
                  <a:lnTo>
                    <a:pt x="1433" y="1794"/>
                  </a:lnTo>
                  <a:lnTo>
                    <a:pt x="1433" y="1792"/>
                  </a:lnTo>
                  <a:lnTo>
                    <a:pt x="1442" y="1781"/>
                  </a:lnTo>
                  <a:lnTo>
                    <a:pt x="1450" y="1770"/>
                  </a:lnTo>
                  <a:lnTo>
                    <a:pt x="1451" y="1768"/>
                  </a:lnTo>
                  <a:lnTo>
                    <a:pt x="1450" y="1766"/>
                  </a:lnTo>
                  <a:lnTo>
                    <a:pt x="1450" y="1763"/>
                  </a:lnTo>
                  <a:lnTo>
                    <a:pt x="1450" y="1761"/>
                  </a:lnTo>
                  <a:lnTo>
                    <a:pt x="1452" y="1762"/>
                  </a:lnTo>
                  <a:lnTo>
                    <a:pt x="1454" y="1763"/>
                  </a:lnTo>
                  <a:lnTo>
                    <a:pt x="1455" y="1764"/>
                  </a:lnTo>
                  <a:lnTo>
                    <a:pt x="1456" y="1765"/>
                  </a:lnTo>
                  <a:lnTo>
                    <a:pt x="1459" y="1765"/>
                  </a:lnTo>
                  <a:lnTo>
                    <a:pt x="1460" y="1764"/>
                  </a:lnTo>
                  <a:lnTo>
                    <a:pt x="1460" y="1763"/>
                  </a:lnTo>
                  <a:lnTo>
                    <a:pt x="1462" y="1763"/>
                  </a:lnTo>
                  <a:lnTo>
                    <a:pt x="1458" y="1773"/>
                  </a:lnTo>
                  <a:lnTo>
                    <a:pt x="1454" y="1782"/>
                  </a:lnTo>
                  <a:lnTo>
                    <a:pt x="1456" y="1780"/>
                  </a:lnTo>
                  <a:lnTo>
                    <a:pt x="1458" y="1778"/>
                  </a:lnTo>
                  <a:lnTo>
                    <a:pt x="1460" y="1776"/>
                  </a:lnTo>
                  <a:lnTo>
                    <a:pt x="1462" y="1774"/>
                  </a:lnTo>
                  <a:lnTo>
                    <a:pt x="1464" y="1767"/>
                  </a:lnTo>
                  <a:lnTo>
                    <a:pt x="1466" y="1760"/>
                  </a:lnTo>
                  <a:lnTo>
                    <a:pt x="1467" y="1754"/>
                  </a:lnTo>
                  <a:lnTo>
                    <a:pt x="1468" y="1750"/>
                  </a:lnTo>
                  <a:lnTo>
                    <a:pt x="1470" y="1747"/>
                  </a:lnTo>
                  <a:lnTo>
                    <a:pt x="1470" y="1746"/>
                  </a:lnTo>
                  <a:lnTo>
                    <a:pt x="1471" y="1745"/>
                  </a:lnTo>
                  <a:lnTo>
                    <a:pt x="1473" y="1743"/>
                  </a:lnTo>
                  <a:lnTo>
                    <a:pt x="1478" y="1739"/>
                  </a:lnTo>
                  <a:lnTo>
                    <a:pt x="1482" y="1735"/>
                  </a:lnTo>
                  <a:lnTo>
                    <a:pt x="1485" y="1730"/>
                  </a:lnTo>
                  <a:lnTo>
                    <a:pt x="1485" y="1728"/>
                  </a:lnTo>
                  <a:lnTo>
                    <a:pt x="1486" y="1725"/>
                  </a:lnTo>
                  <a:lnTo>
                    <a:pt x="1485" y="1719"/>
                  </a:lnTo>
                  <a:lnTo>
                    <a:pt x="1484" y="1712"/>
                  </a:lnTo>
                  <a:lnTo>
                    <a:pt x="1483" y="1705"/>
                  </a:lnTo>
                  <a:lnTo>
                    <a:pt x="1482" y="1698"/>
                  </a:lnTo>
                  <a:lnTo>
                    <a:pt x="1481" y="1692"/>
                  </a:lnTo>
                  <a:lnTo>
                    <a:pt x="1482" y="1689"/>
                  </a:lnTo>
                  <a:lnTo>
                    <a:pt x="1482" y="1687"/>
                  </a:lnTo>
                  <a:lnTo>
                    <a:pt x="1483" y="1685"/>
                  </a:lnTo>
                  <a:lnTo>
                    <a:pt x="1485" y="1684"/>
                  </a:lnTo>
                  <a:lnTo>
                    <a:pt x="1486" y="1684"/>
                  </a:lnTo>
                  <a:lnTo>
                    <a:pt x="1485" y="1683"/>
                  </a:lnTo>
                  <a:lnTo>
                    <a:pt x="1484" y="1682"/>
                  </a:lnTo>
                  <a:lnTo>
                    <a:pt x="1483" y="1682"/>
                  </a:lnTo>
                  <a:lnTo>
                    <a:pt x="1483" y="1680"/>
                  </a:lnTo>
                  <a:lnTo>
                    <a:pt x="1485" y="1679"/>
                  </a:lnTo>
                  <a:lnTo>
                    <a:pt x="1486" y="1679"/>
                  </a:lnTo>
                  <a:lnTo>
                    <a:pt x="1489" y="1679"/>
                  </a:lnTo>
                  <a:lnTo>
                    <a:pt x="1491" y="1678"/>
                  </a:lnTo>
                  <a:lnTo>
                    <a:pt x="1491" y="1674"/>
                  </a:lnTo>
                  <a:lnTo>
                    <a:pt x="1503" y="1668"/>
                  </a:lnTo>
                  <a:lnTo>
                    <a:pt x="1510" y="1665"/>
                  </a:lnTo>
                  <a:lnTo>
                    <a:pt x="1512" y="1663"/>
                  </a:lnTo>
                  <a:lnTo>
                    <a:pt x="1514" y="1661"/>
                  </a:lnTo>
                  <a:lnTo>
                    <a:pt x="1514" y="1659"/>
                  </a:lnTo>
                  <a:lnTo>
                    <a:pt x="1514" y="1658"/>
                  </a:lnTo>
                  <a:lnTo>
                    <a:pt x="1515" y="1656"/>
                  </a:lnTo>
                  <a:lnTo>
                    <a:pt x="1516" y="1655"/>
                  </a:lnTo>
                  <a:lnTo>
                    <a:pt x="1520" y="1654"/>
                  </a:lnTo>
                  <a:lnTo>
                    <a:pt x="1525" y="1653"/>
                  </a:lnTo>
                  <a:lnTo>
                    <a:pt x="1531" y="1653"/>
                  </a:lnTo>
                  <a:lnTo>
                    <a:pt x="1535" y="1651"/>
                  </a:lnTo>
                  <a:lnTo>
                    <a:pt x="1533" y="1644"/>
                  </a:lnTo>
                  <a:lnTo>
                    <a:pt x="1535" y="1643"/>
                  </a:lnTo>
                  <a:lnTo>
                    <a:pt x="1536" y="1644"/>
                  </a:lnTo>
                  <a:lnTo>
                    <a:pt x="1536" y="1643"/>
                  </a:lnTo>
                  <a:lnTo>
                    <a:pt x="1537" y="1642"/>
                  </a:lnTo>
                  <a:lnTo>
                    <a:pt x="1546" y="1641"/>
                  </a:lnTo>
                  <a:lnTo>
                    <a:pt x="1556" y="1640"/>
                  </a:lnTo>
                  <a:lnTo>
                    <a:pt x="1556" y="1634"/>
                  </a:lnTo>
                  <a:lnTo>
                    <a:pt x="1557" y="1635"/>
                  </a:lnTo>
                  <a:lnTo>
                    <a:pt x="1560" y="1636"/>
                  </a:lnTo>
                  <a:lnTo>
                    <a:pt x="1562" y="1637"/>
                  </a:lnTo>
                  <a:lnTo>
                    <a:pt x="1564" y="1637"/>
                  </a:lnTo>
                  <a:lnTo>
                    <a:pt x="1567" y="1637"/>
                  </a:lnTo>
                  <a:lnTo>
                    <a:pt x="1569" y="1636"/>
                  </a:lnTo>
                  <a:lnTo>
                    <a:pt x="1570" y="1633"/>
                  </a:lnTo>
                  <a:lnTo>
                    <a:pt x="1569" y="1630"/>
                  </a:lnTo>
                  <a:lnTo>
                    <a:pt x="1577" y="1626"/>
                  </a:lnTo>
                  <a:lnTo>
                    <a:pt x="1576" y="1623"/>
                  </a:lnTo>
                  <a:lnTo>
                    <a:pt x="1575" y="1618"/>
                  </a:lnTo>
                  <a:lnTo>
                    <a:pt x="1575" y="1614"/>
                  </a:lnTo>
                  <a:lnTo>
                    <a:pt x="1575" y="1610"/>
                  </a:lnTo>
                  <a:lnTo>
                    <a:pt x="1577" y="1606"/>
                  </a:lnTo>
                  <a:lnTo>
                    <a:pt x="1579" y="1602"/>
                  </a:lnTo>
                  <a:lnTo>
                    <a:pt x="1586" y="1594"/>
                  </a:lnTo>
                  <a:lnTo>
                    <a:pt x="1593" y="1585"/>
                  </a:lnTo>
                  <a:lnTo>
                    <a:pt x="1595" y="1582"/>
                  </a:lnTo>
                  <a:lnTo>
                    <a:pt x="1596" y="1579"/>
                  </a:lnTo>
                  <a:lnTo>
                    <a:pt x="1597" y="1576"/>
                  </a:lnTo>
                  <a:lnTo>
                    <a:pt x="1596" y="1572"/>
                  </a:lnTo>
                  <a:lnTo>
                    <a:pt x="1596" y="1568"/>
                  </a:lnTo>
                  <a:lnTo>
                    <a:pt x="1596" y="1566"/>
                  </a:lnTo>
                  <a:lnTo>
                    <a:pt x="1596" y="1564"/>
                  </a:lnTo>
                  <a:lnTo>
                    <a:pt x="1598" y="1563"/>
                  </a:lnTo>
                  <a:lnTo>
                    <a:pt x="1600" y="1561"/>
                  </a:lnTo>
                  <a:lnTo>
                    <a:pt x="1603" y="1560"/>
                  </a:lnTo>
                  <a:lnTo>
                    <a:pt x="1604" y="1558"/>
                  </a:lnTo>
                  <a:lnTo>
                    <a:pt x="1603" y="1556"/>
                  </a:lnTo>
                  <a:lnTo>
                    <a:pt x="1602" y="1552"/>
                  </a:lnTo>
                  <a:lnTo>
                    <a:pt x="1601" y="1548"/>
                  </a:lnTo>
                  <a:lnTo>
                    <a:pt x="1600" y="1543"/>
                  </a:lnTo>
                  <a:lnTo>
                    <a:pt x="1604" y="1541"/>
                  </a:lnTo>
                  <a:lnTo>
                    <a:pt x="1604" y="1534"/>
                  </a:lnTo>
                  <a:lnTo>
                    <a:pt x="1604" y="1527"/>
                  </a:lnTo>
                  <a:lnTo>
                    <a:pt x="1606" y="1527"/>
                  </a:lnTo>
                  <a:lnTo>
                    <a:pt x="1606" y="1519"/>
                  </a:lnTo>
                  <a:lnTo>
                    <a:pt x="1605" y="1512"/>
                  </a:lnTo>
                  <a:lnTo>
                    <a:pt x="1604" y="1504"/>
                  </a:lnTo>
                  <a:lnTo>
                    <a:pt x="1604" y="1499"/>
                  </a:lnTo>
                  <a:lnTo>
                    <a:pt x="1602" y="1498"/>
                  </a:lnTo>
                  <a:lnTo>
                    <a:pt x="1601" y="1498"/>
                  </a:lnTo>
                  <a:lnTo>
                    <a:pt x="1600" y="1497"/>
                  </a:lnTo>
                  <a:lnTo>
                    <a:pt x="1600" y="1495"/>
                  </a:lnTo>
                  <a:lnTo>
                    <a:pt x="1604" y="1495"/>
                  </a:lnTo>
                  <a:lnTo>
                    <a:pt x="1604" y="1492"/>
                  </a:lnTo>
                  <a:lnTo>
                    <a:pt x="1605" y="1490"/>
                  </a:lnTo>
                  <a:lnTo>
                    <a:pt x="1604" y="1487"/>
                  </a:lnTo>
                  <a:lnTo>
                    <a:pt x="1605" y="1486"/>
                  </a:lnTo>
                  <a:lnTo>
                    <a:pt x="1606" y="1484"/>
                  </a:lnTo>
                  <a:lnTo>
                    <a:pt x="1607" y="1482"/>
                  </a:lnTo>
                  <a:lnTo>
                    <a:pt x="1610" y="1479"/>
                  </a:lnTo>
                  <a:lnTo>
                    <a:pt x="1609" y="1477"/>
                  </a:lnTo>
                  <a:lnTo>
                    <a:pt x="1608" y="1476"/>
                  </a:lnTo>
                  <a:lnTo>
                    <a:pt x="1608" y="1474"/>
                  </a:lnTo>
                  <a:lnTo>
                    <a:pt x="1613" y="1476"/>
                  </a:lnTo>
                  <a:lnTo>
                    <a:pt x="1617" y="1479"/>
                  </a:lnTo>
                  <a:lnTo>
                    <a:pt x="1621" y="1471"/>
                  </a:lnTo>
                  <a:lnTo>
                    <a:pt x="1624" y="1462"/>
                  </a:lnTo>
                  <a:lnTo>
                    <a:pt x="1627" y="1454"/>
                  </a:lnTo>
                  <a:lnTo>
                    <a:pt x="1629" y="1450"/>
                  </a:lnTo>
                  <a:lnTo>
                    <a:pt x="1631" y="1447"/>
                  </a:lnTo>
                  <a:lnTo>
                    <a:pt x="1635" y="1443"/>
                  </a:lnTo>
                  <a:lnTo>
                    <a:pt x="1640" y="1439"/>
                  </a:lnTo>
                  <a:lnTo>
                    <a:pt x="1646" y="1436"/>
                  </a:lnTo>
                  <a:lnTo>
                    <a:pt x="1648" y="1434"/>
                  </a:lnTo>
                  <a:lnTo>
                    <a:pt x="1650" y="1431"/>
                  </a:lnTo>
                  <a:lnTo>
                    <a:pt x="1653" y="1427"/>
                  </a:lnTo>
                  <a:lnTo>
                    <a:pt x="1655" y="1421"/>
                  </a:lnTo>
                  <a:lnTo>
                    <a:pt x="1657" y="1415"/>
                  </a:lnTo>
                  <a:lnTo>
                    <a:pt x="1658" y="1411"/>
                  </a:lnTo>
                  <a:lnTo>
                    <a:pt x="1659" y="1407"/>
                  </a:lnTo>
                  <a:lnTo>
                    <a:pt x="1660" y="1400"/>
                  </a:lnTo>
                  <a:lnTo>
                    <a:pt x="1660" y="1392"/>
                  </a:lnTo>
                  <a:lnTo>
                    <a:pt x="1659" y="1385"/>
                  </a:lnTo>
                  <a:lnTo>
                    <a:pt x="1658" y="1378"/>
                  </a:lnTo>
                  <a:lnTo>
                    <a:pt x="1657" y="1377"/>
                  </a:lnTo>
                  <a:lnTo>
                    <a:pt x="1655" y="1376"/>
                  </a:lnTo>
                  <a:lnTo>
                    <a:pt x="1653" y="1375"/>
                  </a:lnTo>
                  <a:lnTo>
                    <a:pt x="1652" y="1374"/>
                  </a:lnTo>
                  <a:lnTo>
                    <a:pt x="1650" y="1370"/>
                  </a:lnTo>
                  <a:lnTo>
                    <a:pt x="1649" y="1366"/>
                  </a:lnTo>
                  <a:lnTo>
                    <a:pt x="1646" y="1358"/>
                  </a:lnTo>
                  <a:lnTo>
                    <a:pt x="1637" y="1360"/>
                  </a:lnTo>
                  <a:lnTo>
                    <a:pt x="1637" y="1355"/>
                  </a:lnTo>
                  <a:lnTo>
                    <a:pt x="1633" y="1355"/>
                  </a:lnTo>
                  <a:lnTo>
                    <a:pt x="1631" y="1356"/>
                  </a:lnTo>
                  <a:lnTo>
                    <a:pt x="1630" y="1357"/>
                  </a:lnTo>
                  <a:lnTo>
                    <a:pt x="1629" y="1357"/>
                  </a:lnTo>
                  <a:lnTo>
                    <a:pt x="1628" y="1357"/>
                  </a:lnTo>
                  <a:lnTo>
                    <a:pt x="1627" y="1357"/>
                  </a:lnTo>
                  <a:lnTo>
                    <a:pt x="1622" y="1349"/>
                  </a:lnTo>
                  <a:lnTo>
                    <a:pt x="1618" y="1343"/>
                  </a:lnTo>
                  <a:lnTo>
                    <a:pt x="1615" y="1339"/>
                  </a:lnTo>
                  <a:lnTo>
                    <a:pt x="1611" y="1336"/>
                  </a:lnTo>
                  <a:lnTo>
                    <a:pt x="1604" y="1332"/>
                  </a:lnTo>
                  <a:lnTo>
                    <a:pt x="1597" y="1328"/>
                  </a:lnTo>
                  <a:lnTo>
                    <a:pt x="1592" y="1326"/>
                  </a:lnTo>
                  <a:lnTo>
                    <a:pt x="1588" y="1326"/>
                  </a:lnTo>
                  <a:lnTo>
                    <a:pt x="1584" y="1326"/>
                  </a:lnTo>
                  <a:lnTo>
                    <a:pt x="1579" y="1327"/>
                  </a:lnTo>
                  <a:lnTo>
                    <a:pt x="1576" y="1327"/>
                  </a:lnTo>
                  <a:lnTo>
                    <a:pt x="1573" y="1326"/>
                  </a:lnTo>
                  <a:lnTo>
                    <a:pt x="1571" y="1322"/>
                  </a:lnTo>
                  <a:lnTo>
                    <a:pt x="1569" y="1322"/>
                  </a:lnTo>
                  <a:lnTo>
                    <a:pt x="1567" y="1323"/>
                  </a:lnTo>
                  <a:lnTo>
                    <a:pt x="1565" y="1324"/>
                  </a:lnTo>
                  <a:lnTo>
                    <a:pt x="1564" y="1324"/>
                  </a:lnTo>
                  <a:lnTo>
                    <a:pt x="1562" y="1323"/>
                  </a:lnTo>
                  <a:lnTo>
                    <a:pt x="1561" y="1322"/>
                  </a:lnTo>
                  <a:lnTo>
                    <a:pt x="1560" y="1321"/>
                  </a:lnTo>
                  <a:lnTo>
                    <a:pt x="1558" y="1319"/>
                  </a:lnTo>
                  <a:lnTo>
                    <a:pt x="1554" y="1317"/>
                  </a:lnTo>
                  <a:lnTo>
                    <a:pt x="1552" y="1317"/>
                  </a:lnTo>
                  <a:lnTo>
                    <a:pt x="1548" y="1318"/>
                  </a:lnTo>
                  <a:lnTo>
                    <a:pt x="1547" y="1322"/>
                  </a:lnTo>
                  <a:lnTo>
                    <a:pt x="1546" y="1326"/>
                  </a:lnTo>
                  <a:lnTo>
                    <a:pt x="1543" y="1326"/>
                  </a:lnTo>
                  <a:lnTo>
                    <a:pt x="1541" y="1326"/>
                  </a:lnTo>
                  <a:lnTo>
                    <a:pt x="1540" y="1322"/>
                  </a:lnTo>
                  <a:lnTo>
                    <a:pt x="1540" y="1321"/>
                  </a:lnTo>
                  <a:lnTo>
                    <a:pt x="1539" y="1320"/>
                  </a:lnTo>
                  <a:lnTo>
                    <a:pt x="1537" y="1318"/>
                  </a:lnTo>
                  <a:lnTo>
                    <a:pt x="1539" y="1315"/>
                  </a:lnTo>
                  <a:lnTo>
                    <a:pt x="1539" y="1313"/>
                  </a:lnTo>
                  <a:lnTo>
                    <a:pt x="1539" y="1312"/>
                  </a:lnTo>
                  <a:lnTo>
                    <a:pt x="1539" y="1310"/>
                  </a:lnTo>
                  <a:lnTo>
                    <a:pt x="1535" y="1310"/>
                  </a:lnTo>
                  <a:lnTo>
                    <a:pt x="1533" y="1303"/>
                  </a:lnTo>
                  <a:lnTo>
                    <a:pt x="1527" y="1305"/>
                  </a:lnTo>
                  <a:lnTo>
                    <a:pt x="1527" y="1301"/>
                  </a:lnTo>
                  <a:lnTo>
                    <a:pt x="1522" y="1298"/>
                  </a:lnTo>
                  <a:lnTo>
                    <a:pt x="1513" y="1294"/>
                  </a:lnTo>
                  <a:lnTo>
                    <a:pt x="1508" y="1292"/>
                  </a:lnTo>
                  <a:lnTo>
                    <a:pt x="1503" y="1291"/>
                  </a:lnTo>
                  <a:lnTo>
                    <a:pt x="1501" y="1290"/>
                  </a:lnTo>
                  <a:lnTo>
                    <a:pt x="1499" y="1290"/>
                  </a:lnTo>
                  <a:lnTo>
                    <a:pt x="1495" y="1291"/>
                  </a:lnTo>
                  <a:lnTo>
                    <a:pt x="1493" y="1297"/>
                  </a:lnTo>
                  <a:lnTo>
                    <a:pt x="1489" y="1297"/>
                  </a:lnTo>
                  <a:lnTo>
                    <a:pt x="1488" y="1296"/>
                  </a:lnTo>
                  <a:lnTo>
                    <a:pt x="1487" y="1294"/>
                  </a:lnTo>
                  <a:lnTo>
                    <a:pt x="1488" y="1290"/>
                  </a:lnTo>
                  <a:lnTo>
                    <a:pt x="1489" y="1286"/>
                  </a:lnTo>
                  <a:lnTo>
                    <a:pt x="1489" y="1284"/>
                  </a:lnTo>
                  <a:lnTo>
                    <a:pt x="1488" y="1283"/>
                  </a:lnTo>
                  <a:lnTo>
                    <a:pt x="1486" y="1283"/>
                  </a:lnTo>
                  <a:lnTo>
                    <a:pt x="1483" y="1283"/>
                  </a:lnTo>
                  <a:lnTo>
                    <a:pt x="1480" y="1284"/>
                  </a:lnTo>
                  <a:lnTo>
                    <a:pt x="1477" y="1284"/>
                  </a:lnTo>
                  <a:lnTo>
                    <a:pt x="1479" y="1278"/>
                  </a:lnTo>
                  <a:lnTo>
                    <a:pt x="1477" y="1278"/>
                  </a:lnTo>
                  <a:lnTo>
                    <a:pt x="1476" y="1278"/>
                  </a:lnTo>
                  <a:lnTo>
                    <a:pt x="1474" y="1279"/>
                  </a:lnTo>
                  <a:lnTo>
                    <a:pt x="1472" y="1280"/>
                  </a:lnTo>
                  <a:lnTo>
                    <a:pt x="1470" y="1280"/>
                  </a:lnTo>
                  <a:lnTo>
                    <a:pt x="1468" y="1278"/>
                  </a:lnTo>
                  <a:lnTo>
                    <a:pt x="1467" y="1277"/>
                  </a:lnTo>
                  <a:lnTo>
                    <a:pt x="1466" y="1276"/>
                  </a:lnTo>
                  <a:lnTo>
                    <a:pt x="1470" y="1268"/>
                  </a:lnTo>
                  <a:lnTo>
                    <a:pt x="1470" y="1266"/>
                  </a:lnTo>
                  <a:lnTo>
                    <a:pt x="1471" y="1265"/>
                  </a:lnTo>
                  <a:lnTo>
                    <a:pt x="1470" y="1265"/>
                  </a:lnTo>
                  <a:lnTo>
                    <a:pt x="1468" y="1264"/>
                  </a:lnTo>
                  <a:lnTo>
                    <a:pt x="1464" y="1263"/>
                  </a:lnTo>
                  <a:lnTo>
                    <a:pt x="1460" y="1261"/>
                  </a:lnTo>
                  <a:lnTo>
                    <a:pt x="1470" y="1255"/>
                  </a:lnTo>
                  <a:lnTo>
                    <a:pt x="1469" y="1254"/>
                  </a:lnTo>
                  <a:lnTo>
                    <a:pt x="1470" y="1252"/>
                  </a:lnTo>
                  <a:lnTo>
                    <a:pt x="1470" y="1250"/>
                  </a:lnTo>
                  <a:lnTo>
                    <a:pt x="1470" y="1249"/>
                  </a:lnTo>
                  <a:lnTo>
                    <a:pt x="1468" y="1249"/>
                  </a:lnTo>
                  <a:lnTo>
                    <a:pt x="1466" y="1249"/>
                  </a:lnTo>
                  <a:lnTo>
                    <a:pt x="1462" y="1249"/>
                  </a:lnTo>
                  <a:lnTo>
                    <a:pt x="1460" y="1242"/>
                  </a:lnTo>
                  <a:lnTo>
                    <a:pt x="1459" y="1235"/>
                  </a:lnTo>
                  <a:lnTo>
                    <a:pt x="1458" y="1229"/>
                  </a:lnTo>
                  <a:lnTo>
                    <a:pt x="1456" y="1222"/>
                  </a:lnTo>
                  <a:lnTo>
                    <a:pt x="1455" y="1219"/>
                  </a:lnTo>
                  <a:lnTo>
                    <a:pt x="1452" y="1214"/>
                  </a:lnTo>
                  <a:lnTo>
                    <a:pt x="1448" y="1214"/>
                  </a:lnTo>
                  <a:lnTo>
                    <a:pt x="1448" y="1213"/>
                  </a:lnTo>
                  <a:lnTo>
                    <a:pt x="1449" y="1211"/>
                  </a:lnTo>
                  <a:lnTo>
                    <a:pt x="1449" y="1210"/>
                  </a:lnTo>
                  <a:lnTo>
                    <a:pt x="1448" y="1209"/>
                  </a:lnTo>
                  <a:lnTo>
                    <a:pt x="1447" y="1208"/>
                  </a:lnTo>
                  <a:lnTo>
                    <a:pt x="1445" y="1207"/>
                  </a:lnTo>
                  <a:lnTo>
                    <a:pt x="1442" y="1206"/>
                  </a:lnTo>
                  <a:lnTo>
                    <a:pt x="1441" y="1205"/>
                  </a:lnTo>
                  <a:lnTo>
                    <a:pt x="1439" y="1202"/>
                  </a:lnTo>
                  <a:lnTo>
                    <a:pt x="1438" y="1199"/>
                  </a:lnTo>
                  <a:lnTo>
                    <a:pt x="1437" y="1196"/>
                  </a:lnTo>
                  <a:lnTo>
                    <a:pt x="1436" y="1194"/>
                  </a:lnTo>
                  <a:lnTo>
                    <a:pt x="1435" y="1193"/>
                  </a:lnTo>
                  <a:lnTo>
                    <a:pt x="1431" y="1191"/>
                  </a:lnTo>
                  <a:lnTo>
                    <a:pt x="1427" y="1190"/>
                  </a:lnTo>
                  <a:lnTo>
                    <a:pt x="1425" y="1189"/>
                  </a:lnTo>
                  <a:lnTo>
                    <a:pt x="1424" y="1189"/>
                  </a:lnTo>
                  <a:lnTo>
                    <a:pt x="1421" y="1189"/>
                  </a:lnTo>
                  <a:lnTo>
                    <a:pt x="1419" y="1190"/>
                  </a:lnTo>
                  <a:lnTo>
                    <a:pt x="1417" y="1190"/>
                  </a:lnTo>
                  <a:lnTo>
                    <a:pt x="1416" y="1190"/>
                  </a:lnTo>
                  <a:lnTo>
                    <a:pt x="1416" y="1184"/>
                  </a:lnTo>
                  <a:lnTo>
                    <a:pt x="1407" y="1183"/>
                  </a:lnTo>
                  <a:lnTo>
                    <a:pt x="1401" y="1183"/>
                  </a:lnTo>
                  <a:lnTo>
                    <a:pt x="1393" y="1183"/>
                  </a:lnTo>
                  <a:lnTo>
                    <a:pt x="1383" y="1182"/>
                  </a:lnTo>
                  <a:lnTo>
                    <a:pt x="1383" y="1186"/>
                  </a:lnTo>
                  <a:lnTo>
                    <a:pt x="1383" y="1187"/>
                  </a:lnTo>
                  <a:lnTo>
                    <a:pt x="1381" y="1188"/>
                  </a:lnTo>
                  <a:lnTo>
                    <a:pt x="1381" y="1186"/>
                  </a:lnTo>
                  <a:lnTo>
                    <a:pt x="1381" y="1184"/>
                  </a:lnTo>
                  <a:lnTo>
                    <a:pt x="1381" y="1181"/>
                  </a:lnTo>
                  <a:lnTo>
                    <a:pt x="1381" y="1178"/>
                  </a:lnTo>
                  <a:lnTo>
                    <a:pt x="1380" y="1177"/>
                  </a:lnTo>
                  <a:lnTo>
                    <a:pt x="1379" y="1176"/>
                  </a:lnTo>
                  <a:lnTo>
                    <a:pt x="1378" y="1176"/>
                  </a:lnTo>
                  <a:lnTo>
                    <a:pt x="1377" y="1176"/>
                  </a:lnTo>
                  <a:lnTo>
                    <a:pt x="1375" y="1176"/>
                  </a:lnTo>
                  <a:lnTo>
                    <a:pt x="1374" y="1176"/>
                  </a:lnTo>
                  <a:lnTo>
                    <a:pt x="1372" y="1173"/>
                  </a:lnTo>
                  <a:lnTo>
                    <a:pt x="1370" y="1170"/>
                  </a:lnTo>
                  <a:lnTo>
                    <a:pt x="1367" y="1171"/>
                  </a:lnTo>
                  <a:lnTo>
                    <a:pt x="1366" y="1172"/>
                  </a:lnTo>
                  <a:lnTo>
                    <a:pt x="1364" y="1172"/>
                  </a:lnTo>
                  <a:lnTo>
                    <a:pt x="1362" y="1172"/>
                  </a:lnTo>
                  <a:lnTo>
                    <a:pt x="1362" y="1176"/>
                  </a:lnTo>
                  <a:lnTo>
                    <a:pt x="1362" y="1180"/>
                  </a:lnTo>
                  <a:lnTo>
                    <a:pt x="1361" y="1180"/>
                  </a:lnTo>
                  <a:lnTo>
                    <a:pt x="1360" y="1179"/>
                  </a:lnTo>
                  <a:lnTo>
                    <a:pt x="1358" y="1179"/>
                  </a:lnTo>
                  <a:lnTo>
                    <a:pt x="1357" y="1179"/>
                  </a:lnTo>
                  <a:lnTo>
                    <a:pt x="1356" y="1180"/>
                  </a:lnTo>
                  <a:lnTo>
                    <a:pt x="1359" y="1175"/>
                  </a:lnTo>
                  <a:lnTo>
                    <a:pt x="1360" y="1170"/>
                  </a:lnTo>
                  <a:lnTo>
                    <a:pt x="1362" y="1159"/>
                  </a:lnTo>
                  <a:lnTo>
                    <a:pt x="1361" y="1158"/>
                  </a:lnTo>
                  <a:lnTo>
                    <a:pt x="1359" y="1159"/>
                  </a:lnTo>
                  <a:lnTo>
                    <a:pt x="1358" y="1159"/>
                  </a:lnTo>
                  <a:lnTo>
                    <a:pt x="1356" y="1159"/>
                  </a:lnTo>
                  <a:lnTo>
                    <a:pt x="1356" y="1155"/>
                  </a:lnTo>
                  <a:lnTo>
                    <a:pt x="1354" y="1154"/>
                  </a:lnTo>
                  <a:lnTo>
                    <a:pt x="1351" y="1153"/>
                  </a:lnTo>
                  <a:lnTo>
                    <a:pt x="1350" y="1152"/>
                  </a:lnTo>
                  <a:lnTo>
                    <a:pt x="1349" y="1150"/>
                  </a:lnTo>
                  <a:lnTo>
                    <a:pt x="1348" y="1148"/>
                  </a:lnTo>
                  <a:lnTo>
                    <a:pt x="1347" y="1147"/>
                  </a:lnTo>
                  <a:lnTo>
                    <a:pt x="1345" y="1147"/>
                  </a:lnTo>
                  <a:lnTo>
                    <a:pt x="1342" y="1146"/>
                  </a:lnTo>
                  <a:lnTo>
                    <a:pt x="1338" y="1146"/>
                  </a:lnTo>
                  <a:lnTo>
                    <a:pt x="1335" y="1145"/>
                  </a:lnTo>
                  <a:lnTo>
                    <a:pt x="1332" y="1146"/>
                  </a:lnTo>
                  <a:lnTo>
                    <a:pt x="1326" y="1147"/>
                  </a:lnTo>
                  <a:lnTo>
                    <a:pt x="1320" y="1147"/>
                  </a:lnTo>
                  <a:lnTo>
                    <a:pt x="1314" y="1149"/>
                  </a:lnTo>
                  <a:lnTo>
                    <a:pt x="1315" y="1148"/>
                  </a:lnTo>
                  <a:lnTo>
                    <a:pt x="1315" y="1147"/>
                  </a:lnTo>
                  <a:lnTo>
                    <a:pt x="1316" y="1143"/>
                  </a:lnTo>
                  <a:lnTo>
                    <a:pt x="1323" y="1144"/>
                  </a:lnTo>
                  <a:lnTo>
                    <a:pt x="1329" y="1143"/>
                  </a:lnTo>
                  <a:lnTo>
                    <a:pt x="1330" y="1140"/>
                  </a:lnTo>
                  <a:lnTo>
                    <a:pt x="1330" y="1137"/>
                  </a:lnTo>
                  <a:lnTo>
                    <a:pt x="1330" y="1135"/>
                  </a:lnTo>
                  <a:lnTo>
                    <a:pt x="1331" y="1132"/>
                  </a:lnTo>
                  <a:lnTo>
                    <a:pt x="1333" y="1132"/>
                  </a:lnTo>
                  <a:lnTo>
                    <a:pt x="1334" y="1132"/>
                  </a:lnTo>
                  <a:lnTo>
                    <a:pt x="1333" y="1130"/>
                  </a:lnTo>
                  <a:lnTo>
                    <a:pt x="1329" y="1128"/>
                  </a:lnTo>
                  <a:lnTo>
                    <a:pt x="1327" y="1128"/>
                  </a:lnTo>
                  <a:lnTo>
                    <a:pt x="1326" y="1129"/>
                  </a:lnTo>
                  <a:lnTo>
                    <a:pt x="1324" y="1130"/>
                  </a:lnTo>
                  <a:lnTo>
                    <a:pt x="1322" y="1130"/>
                  </a:lnTo>
                  <a:lnTo>
                    <a:pt x="1322" y="1126"/>
                  </a:lnTo>
                  <a:lnTo>
                    <a:pt x="1320" y="1126"/>
                  </a:lnTo>
                  <a:lnTo>
                    <a:pt x="1319" y="1126"/>
                  </a:lnTo>
                  <a:lnTo>
                    <a:pt x="1318" y="1127"/>
                  </a:lnTo>
                  <a:lnTo>
                    <a:pt x="1317" y="1128"/>
                  </a:lnTo>
                  <a:lnTo>
                    <a:pt x="1316" y="1128"/>
                  </a:lnTo>
                  <a:lnTo>
                    <a:pt x="1314" y="1128"/>
                  </a:lnTo>
                  <a:lnTo>
                    <a:pt x="1314" y="1124"/>
                  </a:lnTo>
                  <a:lnTo>
                    <a:pt x="1313" y="1125"/>
                  </a:lnTo>
                  <a:lnTo>
                    <a:pt x="1312" y="1124"/>
                  </a:lnTo>
                  <a:lnTo>
                    <a:pt x="1311" y="1123"/>
                  </a:lnTo>
                  <a:lnTo>
                    <a:pt x="1310" y="1118"/>
                  </a:lnTo>
                  <a:lnTo>
                    <a:pt x="1315" y="1117"/>
                  </a:lnTo>
                  <a:lnTo>
                    <a:pt x="1318" y="1115"/>
                  </a:lnTo>
                  <a:lnTo>
                    <a:pt x="1297" y="1115"/>
                  </a:lnTo>
                  <a:lnTo>
                    <a:pt x="1299" y="1117"/>
                  </a:lnTo>
                  <a:lnTo>
                    <a:pt x="1301" y="1118"/>
                  </a:lnTo>
                  <a:lnTo>
                    <a:pt x="1298" y="1118"/>
                  </a:lnTo>
                  <a:lnTo>
                    <a:pt x="1296" y="1117"/>
                  </a:lnTo>
                  <a:lnTo>
                    <a:pt x="1294" y="1117"/>
                  </a:lnTo>
                  <a:lnTo>
                    <a:pt x="1293" y="1117"/>
                  </a:lnTo>
                  <a:lnTo>
                    <a:pt x="1289" y="1122"/>
                  </a:lnTo>
                  <a:lnTo>
                    <a:pt x="1286" y="1123"/>
                  </a:lnTo>
                  <a:lnTo>
                    <a:pt x="1283" y="1123"/>
                  </a:lnTo>
                  <a:lnTo>
                    <a:pt x="1278" y="1122"/>
                  </a:lnTo>
                  <a:lnTo>
                    <a:pt x="1268" y="1120"/>
                  </a:lnTo>
                  <a:lnTo>
                    <a:pt x="1268" y="1117"/>
                  </a:lnTo>
                  <a:lnTo>
                    <a:pt x="1265" y="1116"/>
                  </a:lnTo>
                  <a:lnTo>
                    <a:pt x="1261" y="1117"/>
                  </a:lnTo>
                  <a:lnTo>
                    <a:pt x="1257" y="1117"/>
                  </a:lnTo>
                  <a:lnTo>
                    <a:pt x="1254" y="1118"/>
                  </a:lnTo>
                  <a:lnTo>
                    <a:pt x="1241" y="1122"/>
                  </a:lnTo>
                  <a:lnTo>
                    <a:pt x="1240" y="1117"/>
                  </a:lnTo>
                  <a:lnTo>
                    <a:pt x="1239" y="1114"/>
                  </a:lnTo>
                  <a:lnTo>
                    <a:pt x="1238" y="1112"/>
                  </a:lnTo>
                  <a:lnTo>
                    <a:pt x="1236" y="1109"/>
                  </a:lnTo>
                  <a:lnTo>
                    <a:pt x="1234" y="1108"/>
                  </a:lnTo>
                  <a:lnTo>
                    <a:pt x="1231" y="1106"/>
                  </a:lnTo>
                  <a:lnTo>
                    <a:pt x="1228" y="1105"/>
                  </a:lnTo>
                  <a:lnTo>
                    <a:pt x="1226" y="1105"/>
                  </a:lnTo>
                  <a:lnTo>
                    <a:pt x="1224" y="1105"/>
                  </a:lnTo>
                  <a:lnTo>
                    <a:pt x="1222" y="1105"/>
                  </a:lnTo>
                  <a:lnTo>
                    <a:pt x="1220" y="1105"/>
                  </a:lnTo>
                  <a:lnTo>
                    <a:pt x="1220" y="1099"/>
                  </a:lnTo>
                  <a:lnTo>
                    <a:pt x="1217" y="1098"/>
                  </a:lnTo>
                  <a:lnTo>
                    <a:pt x="1214" y="1097"/>
                  </a:lnTo>
                  <a:lnTo>
                    <a:pt x="1215" y="1100"/>
                  </a:lnTo>
                  <a:lnTo>
                    <a:pt x="1214" y="1103"/>
                  </a:lnTo>
                  <a:lnTo>
                    <a:pt x="1217" y="1104"/>
                  </a:lnTo>
                  <a:lnTo>
                    <a:pt x="1218" y="1105"/>
                  </a:lnTo>
                  <a:lnTo>
                    <a:pt x="1219" y="1107"/>
                  </a:lnTo>
                  <a:lnTo>
                    <a:pt x="1220" y="1109"/>
                  </a:lnTo>
                  <a:lnTo>
                    <a:pt x="1215" y="1110"/>
                  </a:lnTo>
                  <a:lnTo>
                    <a:pt x="1210" y="1111"/>
                  </a:lnTo>
                  <a:lnTo>
                    <a:pt x="1201" y="1113"/>
                  </a:lnTo>
                  <a:lnTo>
                    <a:pt x="1201" y="1116"/>
                  </a:lnTo>
                  <a:lnTo>
                    <a:pt x="1201" y="1118"/>
                  </a:lnTo>
                  <a:lnTo>
                    <a:pt x="1200" y="1121"/>
                  </a:lnTo>
                  <a:lnTo>
                    <a:pt x="1201" y="1123"/>
                  </a:lnTo>
                  <a:lnTo>
                    <a:pt x="1201" y="1124"/>
                  </a:lnTo>
                  <a:lnTo>
                    <a:pt x="1203" y="1127"/>
                  </a:lnTo>
                  <a:lnTo>
                    <a:pt x="1207" y="1132"/>
                  </a:lnTo>
                  <a:lnTo>
                    <a:pt x="1208" y="1135"/>
                  </a:lnTo>
                  <a:lnTo>
                    <a:pt x="1209" y="1138"/>
                  </a:lnTo>
                  <a:lnTo>
                    <a:pt x="1208" y="1139"/>
                  </a:lnTo>
                  <a:lnTo>
                    <a:pt x="1208" y="1140"/>
                  </a:lnTo>
                  <a:lnTo>
                    <a:pt x="1205" y="1142"/>
                  </a:lnTo>
                  <a:lnTo>
                    <a:pt x="1201" y="1142"/>
                  </a:lnTo>
                  <a:lnTo>
                    <a:pt x="1199" y="1141"/>
                  </a:lnTo>
                  <a:lnTo>
                    <a:pt x="1198" y="1141"/>
                  </a:lnTo>
                  <a:lnTo>
                    <a:pt x="1196" y="1139"/>
                  </a:lnTo>
                  <a:lnTo>
                    <a:pt x="1195" y="1137"/>
                  </a:lnTo>
                  <a:lnTo>
                    <a:pt x="1194" y="1131"/>
                  </a:lnTo>
                  <a:lnTo>
                    <a:pt x="1193" y="1124"/>
                  </a:lnTo>
                  <a:lnTo>
                    <a:pt x="1195" y="1124"/>
                  </a:lnTo>
                  <a:lnTo>
                    <a:pt x="1197" y="1124"/>
                  </a:lnTo>
                  <a:lnTo>
                    <a:pt x="1198" y="1123"/>
                  </a:lnTo>
                  <a:lnTo>
                    <a:pt x="1199" y="1122"/>
                  </a:lnTo>
                  <a:lnTo>
                    <a:pt x="1199" y="1121"/>
                  </a:lnTo>
                  <a:lnTo>
                    <a:pt x="1199" y="1119"/>
                  </a:lnTo>
                  <a:lnTo>
                    <a:pt x="1199" y="1118"/>
                  </a:lnTo>
                  <a:lnTo>
                    <a:pt x="1199" y="1117"/>
                  </a:lnTo>
                  <a:lnTo>
                    <a:pt x="1195" y="1117"/>
                  </a:lnTo>
                  <a:lnTo>
                    <a:pt x="1197" y="1113"/>
                  </a:lnTo>
                  <a:lnTo>
                    <a:pt x="1194" y="1112"/>
                  </a:lnTo>
                  <a:lnTo>
                    <a:pt x="1191" y="1111"/>
                  </a:lnTo>
                  <a:lnTo>
                    <a:pt x="1191" y="1109"/>
                  </a:lnTo>
                  <a:lnTo>
                    <a:pt x="1197" y="1105"/>
                  </a:lnTo>
                  <a:lnTo>
                    <a:pt x="1203" y="1101"/>
                  </a:lnTo>
                  <a:lnTo>
                    <a:pt x="1201" y="1098"/>
                  </a:lnTo>
                  <a:lnTo>
                    <a:pt x="1199" y="1094"/>
                  </a:lnTo>
                  <a:lnTo>
                    <a:pt x="1195" y="1094"/>
                  </a:lnTo>
                  <a:lnTo>
                    <a:pt x="1191" y="1095"/>
                  </a:lnTo>
                  <a:lnTo>
                    <a:pt x="1191" y="1099"/>
                  </a:lnTo>
                  <a:lnTo>
                    <a:pt x="1189" y="1102"/>
                  </a:lnTo>
                  <a:lnTo>
                    <a:pt x="1184" y="1105"/>
                  </a:lnTo>
                  <a:lnTo>
                    <a:pt x="1179" y="1109"/>
                  </a:lnTo>
                  <a:lnTo>
                    <a:pt x="1176" y="1111"/>
                  </a:lnTo>
                  <a:lnTo>
                    <a:pt x="1174" y="1110"/>
                  </a:lnTo>
                  <a:lnTo>
                    <a:pt x="1172" y="1109"/>
                  </a:lnTo>
                  <a:lnTo>
                    <a:pt x="1169" y="1109"/>
                  </a:lnTo>
                  <a:lnTo>
                    <a:pt x="1168" y="1108"/>
                  </a:lnTo>
                  <a:lnTo>
                    <a:pt x="1166" y="1109"/>
                  </a:lnTo>
                  <a:lnTo>
                    <a:pt x="1165" y="1110"/>
                  </a:lnTo>
                  <a:lnTo>
                    <a:pt x="1165" y="1112"/>
                  </a:lnTo>
                  <a:lnTo>
                    <a:pt x="1164" y="1117"/>
                  </a:lnTo>
                  <a:lnTo>
                    <a:pt x="1163" y="1116"/>
                  </a:lnTo>
                  <a:lnTo>
                    <a:pt x="1162" y="1115"/>
                  </a:lnTo>
                  <a:lnTo>
                    <a:pt x="1159" y="1114"/>
                  </a:lnTo>
                  <a:lnTo>
                    <a:pt x="1155" y="1115"/>
                  </a:lnTo>
                  <a:lnTo>
                    <a:pt x="1153" y="1130"/>
                  </a:lnTo>
                  <a:lnTo>
                    <a:pt x="1149" y="1130"/>
                  </a:lnTo>
                  <a:lnTo>
                    <a:pt x="1149" y="1132"/>
                  </a:lnTo>
                  <a:lnTo>
                    <a:pt x="1149" y="1134"/>
                  </a:lnTo>
                  <a:lnTo>
                    <a:pt x="1149" y="1136"/>
                  </a:lnTo>
                  <a:lnTo>
                    <a:pt x="1149" y="1138"/>
                  </a:lnTo>
                  <a:lnTo>
                    <a:pt x="1143" y="1138"/>
                  </a:lnTo>
                  <a:lnTo>
                    <a:pt x="1138" y="1147"/>
                  </a:lnTo>
                  <a:lnTo>
                    <a:pt x="1137" y="1149"/>
                  </a:lnTo>
                  <a:lnTo>
                    <a:pt x="1138" y="1151"/>
                  </a:lnTo>
                  <a:lnTo>
                    <a:pt x="1138" y="1153"/>
                  </a:lnTo>
                  <a:lnTo>
                    <a:pt x="1138" y="1155"/>
                  </a:lnTo>
                  <a:lnTo>
                    <a:pt x="1130" y="1150"/>
                  </a:lnTo>
                  <a:lnTo>
                    <a:pt x="1125" y="1145"/>
                  </a:lnTo>
                  <a:lnTo>
                    <a:pt x="1121" y="1141"/>
                  </a:lnTo>
                  <a:lnTo>
                    <a:pt x="1116" y="1136"/>
                  </a:lnTo>
                  <a:lnTo>
                    <a:pt x="1113" y="1130"/>
                  </a:lnTo>
                  <a:lnTo>
                    <a:pt x="1106" y="1129"/>
                  </a:lnTo>
                  <a:lnTo>
                    <a:pt x="1101" y="1128"/>
                  </a:lnTo>
                  <a:lnTo>
                    <a:pt x="1100" y="1131"/>
                  </a:lnTo>
                  <a:lnTo>
                    <a:pt x="1099" y="1134"/>
                  </a:lnTo>
                  <a:lnTo>
                    <a:pt x="1093" y="1136"/>
                  </a:lnTo>
                  <a:lnTo>
                    <a:pt x="1088" y="1137"/>
                  </a:lnTo>
                  <a:lnTo>
                    <a:pt x="1084" y="1138"/>
                  </a:lnTo>
                  <a:lnTo>
                    <a:pt x="1078" y="1140"/>
                  </a:lnTo>
                  <a:lnTo>
                    <a:pt x="1077" y="1138"/>
                  </a:lnTo>
                  <a:lnTo>
                    <a:pt x="1077" y="1137"/>
                  </a:lnTo>
                  <a:lnTo>
                    <a:pt x="1076" y="1136"/>
                  </a:lnTo>
                  <a:lnTo>
                    <a:pt x="1074" y="1136"/>
                  </a:lnTo>
                  <a:lnTo>
                    <a:pt x="1072" y="1137"/>
                  </a:lnTo>
                  <a:lnTo>
                    <a:pt x="1070" y="1138"/>
                  </a:lnTo>
                  <a:lnTo>
                    <a:pt x="1069" y="1138"/>
                  </a:lnTo>
                  <a:lnTo>
                    <a:pt x="1068" y="1138"/>
                  </a:lnTo>
                  <a:lnTo>
                    <a:pt x="1064" y="1128"/>
                  </a:lnTo>
                  <a:lnTo>
                    <a:pt x="1061" y="1120"/>
                  </a:lnTo>
                  <a:lnTo>
                    <a:pt x="1058" y="1117"/>
                  </a:lnTo>
                  <a:lnTo>
                    <a:pt x="1055" y="1114"/>
                  </a:lnTo>
                  <a:lnTo>
                    <a:pt x="1049" y="1106"/>
                  </a:lnTo>
                  <a:lnTo>
                    <a:pt x="1047" y="1103"/>
                  </a:lnTo>
                  <a:lnTo>
                    <a:pt x="1057" y="1044"/>
                  </a:lnTo>
                  <a:lnTo>
                    <a:pt x="1052" y="1043"/>
                  </a:lnTo>
                  <a:lnTo>
                    <a:pt x="1047" y="1042"/>
                  </a:lnTo>
                  <a:lnTo>
                    <a:pt x="1046" y="1040"/>
                  </a:lnTo>
                  <a:lnTo>
                    <a:pt x="1045" y="1037"/>
                  </a:lnTo>
                  <a:lnTo>
                    <a:pt x="1043" y="1032"/>
                  </a:lnTo>
                  <a:lnTo>
                    <a:pt x="1034" y="1030"/>
                  </a:lnTo>
                  <a:lnTo>
                    <a:pt x="1030" y="1029"/>
                  </a:lnTo>
                  <a:lnTo>
                    <a:pt x="1026" y="1028"/>
                  </a:lnTo>
                  <a:lnTo>
                    <a:pt x="1022" y="1029"/>
                  </a:lnTo>
                  <a:lnTo>
                    <a:pt x="1018" y="1031"/>
                  </a:lnTo>
                  <a:lnTo>
                    <a:pt x="1014" y="1033"/>
                  </a:lnTo>
                  <a:lnTo>
                    <a:pt x="1011" y="1034"/>
                  </a:lnTo>
                  <a:lnTo>
                    <a:pt x="1006" y="1034"/>
                  </a:lnTo>
                  <a:lnTo>
                    <a:pt x="1001" y="1034"/>
                  </a:lnTo>
                  <a:lnTo>
                    <a:pt x="991" y="1034"/>
                  </a:lnTo>
                  <a:lnTo>
                    <a:pt x="986" y="1034"/>
                  </a:lnTo>
                  <a:lnTo>
                    <a:pt x="988" y="1028"/>
                  </a:lnTo>
                  <a:lnTo>
                    <a:pt x="991" y="1020"/>
                  </a:lnTo>
                  <a:lnTo>
                    <a:pt x="994" y="1011"/>
                  </a:lnTo>
                  <a:lnTo>
                    <a:pt x="996" y="1003"/>
                  </a:lnTo>
                  <a:lnTo>
                    <a:pt x="996" y="999"/>
                  </a:lnTo>
                  <a:lnTo>
                    <a:pt x="995" y="996"/>
                  </a:lnTo>
                  <a:lnTo>
                    <a:pt x="995" y="995"/>
                  </a:lnTo>
                  <a:lnTo>
                    <a:pt x="994" y="994"/>
                  </a:lnTo>
                  <a:lnTo>
                    <a:pt x="992" y="992"/>
                  </a:lnTo>
                  <a:lnTo>
                    <a:pt x="992" y="990"/>
                  </a:lnTo>
                  <a:lnTo>
                    <a:pt x="993" y="990"/>
                  </a:lnTo>
                  <a:lnTo>
                    <a:pt x="994" y="988"/>
                  </a:lnTo>
                  <a:lnTo>
                    <a:pt x="995" y="986"/>
                  </a:lnTo>
                  <a:lnTo>
                    <a:pt x="995" y="992"/>
                  </a:lnTo>
                  <a:lnTo>
                    <a:pt x="1000" y="993"/>
                  </a:lnTo>
                  <a:lnTo>
                    <a:pt x="1002" y="993"/>
                  </a:lnTo>
                  <a:lnTo>
                    <a:pt x="1001" y="992"/>
                  </a:lnTo>
                  <a:lnTo>
                    <a:pt x="1001" y="988"/>
                  </a:lnTo>
                  <a:lnTo>
                    <a:pt x="1001" y="980"/>
                  </a:lnTo>
                  <a:lnTo>
                    <a:pt x="1006" y="960"/>
                  </a:lnTo>
                  <a:lnTo>
                    <a:pt x="1007" y="953"/>
                  </a:lnTo>
                  <a:lnTo>
                    <a:pt x="1008" y="947"/>
                  </a:lnTo>
                  <a:lnTo>
                    <a:pt x="1008" y="942"/>
                  </a:lnTo>
                  <a:lnTo>
                    <a:pt x="1008" y="941"/>
                  </a:lnTo>
                  <a:lnTo>
                    <a:pt x="1007" y="940"/>
                  </a:lnTo>
                  <a:lnTo>
                    <a:pt x="1005" y="939"/>
                  </a:lnTo>
                  <a:lnTo>
                    <a:pt x="1003" y="939"/>
                  </a:lnTo>
                  <a:lnTo>
                    <a:pt x="998" y="938"/>
                  </a:lnTo>
                  <a:lnTo>
                    <a:pt x="993" y="939"/>
                  </a:lnTo>
                  <a:lnTo>
                    <a:pt x="988" y="941"/>
                  </a:lnTo>
                  <a:lnTo>
                    <a:pt x="982" y="943"/>
                  </a:lnTo>
                  <a:lnTo>
                    <a:pt x="977" y="946"/>
                  </a:lnTo>
                  <a:lnTo>
                    <a:pt x="969" y="950"/>
                  </a:lnTo>
                  <a:lnTo>
                    <a:pt x="968" y="955"/>
                  </a:lnTo>
                  <a:lnTo>
                    <a:pt x="968" y="959"/>
                  </a:lnTo>
                  <a:lnTo>
                    <a:pt x="968" y="964"/>
                  </a:lnTo>
                  <a:lnTo>
                    <a:pt x="967" y="966"/>
                  </a:lnTo>
                  <a:lnTo>
                    <a:pt x="967" y="969"/>
                  </a:lnTo>
                  <a:lnTo>
                    <a:pt x="963" y="971"/>
                  </a:lnTo>
                  <a:lnTo>
                    <a:pt x="963" y="973"/>
                  </a:lnTo>
                  <a:lnTo>
                    <a:pt x="963" y="976"/>
                  </a:lnTo>
                  <a:lnTo>
                    <a:pt x="963" y="978"/>
                  </a:lnTo>
                  <a:lnTo>
                    <a:pt x="963" y="979"/>
                  </a:lnTo>
                  <a:lnTo>
                    <a:pt x="963" y="980"/>
                  </a:lnTo>
                  <a:lnTo>
                    <a:pt x="960" y="981"/>
                  </a:lnTo>
                  <a:lnTo>
                    <a:pt x="957" y="982"/>
                  </a:lnTo>
                  <a:lnTo>
                    <a:pt x="956" y="985"/>
                  </a:lnTo>
                  <a:lnTo>
                    <a:pt x="955" y="988"/>
                  </a:lnTo>
                  <a:lnTo>
                    <a:pt x="953" y="988"/>
                  </a:lnTo>
                  <a:lnTo>
                    <a:pt x="952" y="989"/>
                  </a:lnTo>
                  <a:lnTo>
                    <a:pt x="951" y="990"/>
                  </a:lnTo>
                  <a:lnTo>
                    <a:pt x="949" y="990"/>
                  </a:lnTo>
                  <a:lnTo>
                    <a:pt x="949" y="986"/>
                  </a:lnTo>
                  <a:lnTo>
                    <a:pt x="943" y="986"/>
                  </a:lnTo>
                  <a:lnTo>
                    <a:pt x="940" y="986"/>
                  </a:lnTo>
                  <a:lnTo>
                    <a:pt x="938" y="989"/>
                  </a:lnTo>
                  <a:lnTo>
                    <a:pt x="936" y="992"/>
                  </a:lnTo>
                  <a:lnTo>
                    <a:pt x="934" y="992"/>
                  </a:lnTo>
                  <a:lnTo>
                    <a:pt x="931" y="993"/>
                  </a:lnTo>
                  <a:lnTo>
                    <a:pt x="928" y="993"/>
                  </a:lnTo>
                  <a:lnTo>
                    <a:pt x="926" y="994"/>
                  </a:lnTo>
                  <a:lnTo>
                    <a:pt x="926" y="995"/>
                  </a:lnTo>
                  <a:lnTo>
                    <a:pt x="926" y="997"/>
                  </a:lnTo>
                  <a:lnTo>
                    <a:pt x="925" y="998"/>
                  </a:lnTo>
                  <a:lnTo>
                    <a:pt x="924" y="999"/>
                  </a:lnTo>
                  <a:lnTo>
                    <a:pt x="922" y="1000"/>
                  </a:lnTo>
                  <a:lnTo>
                    <a:pt x="921" y="999"/>
                  </a:lnTo>
                  <a:lnTo>
                    <a:pt x="923" y="998"/>
                  </a:lnTo>
                  <a:lnTo>
                    <a:pt x="920" y="997"/>
                  </a:lnTo>
                  <a:lnTo>
                    <a:pt x="918" y="998"/>
                  </a:lnTo>
                  <a:lnTo>
                    <a:pt x="913" y="999"/>
                  </a:lnTo>
                  <a:lnTo>
                    <a:pt x="912" y="995"/>
                  </a:lnTo>
                  <a:lnTo>
                    <a:pt x="911" y="992"/>
                  </a:lnTo>
                  <a:lnTo>
                    <a:pt x="908" y="991"/>
                  </a:lnTo>
                  <a:lnTo>
                    <a:pt x="904" y="991"/>
                  </a:lnTo>
                  <a:lnTo>
                    <a:pt x="901" y="991"/>
                  </a:lnTo>
                  <a:lnTo>
                    <a:pt x="899" y="991"/>
                  </a:lnTo>
                  <a:lnTo>
                    <a:pt x="898" y="990"/>
                  </a:lnTo>
                  <a:lnTo>
                    <a:pt x="897" y="989"/>
                  </a:lnTo>
                  <a:lnTo>
                    <a:pt x="896" y="988"/>
                  </a:lnTo>
                  <a:lnTo>
                    <a:pt x="895" y="985"/>
                  </a:lnTo>
                  <a:lnTo>
                    <a:pt x="894" y="980"/>
                  </a:lnTo>
                  <a:lnTo>
                    <a:pt x="889" y="972"/>
                  </a:lnTo>
                  <a:lnTo>
                    <a:pt x="884" y="965"/>
                  </a:lnTo>
                  <a:lnTo>
                    <a:pt x="880" y="957"/>
                  </a:lnTo>
                  <a:lnTo>
                    <a:pt x="876" y="948"/>
                  </a:lnTo>
                  <a:lnTo>
                    <a:pt x="874" y="949"/>
                  </a:lnTo>
                  <a:lnTo>
                    <a:pt x="873" y="950"/>
                  </a:lnTo>
                  <a:lnTo>
                    <a:pt x="873" y="949"/>
                  </a:lnTo>
                  <a:lnTo>
                    <a:pt x="874" y="947"/>
                  </a:lnTo>
                  <a:lnTo>
                    <a:pt x="874" y="943"/>
                  </a:lnTo>
                  <a:lnTo>
                    <a:pt x="874" y="939"/>
                  </a:lnTo>
                  <a:lnTo>
                    <a:pt x="873" y="937"/>
                  </a:lnTo>
                  <a:lnTo>
                    <a:pt x="873" y="936"/>
                  </a:lnTo>
                  <a:lnTo>
                    <a:pt x="876" y="932"/>
                  </a:lnTo>
                  <a:lnTo>
                    <a:pt x="877" y="930"/>
                  </a:lnTo>
                  <a:lnTo>
                    <a:pt x="877" y="927"/>
                  </a:lnTo>
                  <a:lnTo>
                    <a:pt x="875" y="923"/>
                  </a:lnTo>
                  <a:lnTo>
                    <a:pt x="874" y="918"/>
                  </a:lnTo>
                  <a:lnTo>
                    <a:pt x="873" y="915"/>
                  </a:lnTo>
                  <a:lnTo>
                    <a:pt x="873" y="912"/>
                  </a:lnTo>
                  <a:lnTo>
                    <a:pt x="874" y="909"/>
                  </a:lnTo>
                  <a:lnTo>
                    <a:pt x="875" y="905"/>
                  </a:lnTo>
                  <a:lnTo>
                    <a:pt x="872" y="899"/>
                  </a:lnTo>
                  <a:lnTo>
                    <a:pt x="871" y="895"/>
                  </a:lnTo>
                  <a:lnTo>
                    <a:pt x="871" y="892"/>
                  </a:lnTo>
                  <a:lnTo>
                    <a:pt x="871" y="891"/>
                  </a:lnTo>
                  <a:lnTo>
                    <a:pt x="873" y="889"/>
                  </a:lnTo>
                  <a:lnTo>
                    <a:pt x="876" y="886"/>
                  </a:lnTo>
                  <a:lnTo>
                    <a:pt x="880" y="883"/>
                  </a:lnTo>
                  <a:lnTo>
                    <a:pt x="882" y="880"/>
                  </a:lnTo>
                  <a:lnTo>
                    <a:pt x="882" y="878"/>
                  </a:lnTo>
                  <a:lnTo>
                    <a:pt x="882" y="875"/>
                  </a:lnTo>
                  <a:lnTo>
                    <a:pt x="880" y="870"/>
                  </a:lnTo>
                  <a:lnTo>
                    <a:pt x="877" y="864"/>
                  </a:lnTo>
                  <a:lnTo>
                    <a:pt x="875" y="859"/>
                  </a:lnTo>
                  <a:lnTo>
                    <a:pt x="875" y="858"/>
                  </a:lnTo>
                  <a:lnTo>
                    <a:pt x="876" y="857"/>
                  </a:lnTo>
                  <a:lnTo>
                    <a:pt x="876" y="854"/>
                  </a:lnTo>
                  <a:lnTo>
                    <a:pt x="875" y="850"/>
                  </a:lnTo>
                  <a:lnTo>
                    <a:pt x="875" y="848"/>
                  </a:lnTo>
                  <a:lnTo>
                    <a:pt x="878" y="848"/>
                  </a:lnTo>
                  <a:lnTo>
                    <a:pt x="879" y="846"/>
                  </a:lnTo>
                  <a:lnTo>
                    <a:pt x="878" y="844"/>
                  </a:lnTo>
                  <a:lnTo>
                    <a:pt x="878" y="842"/>
                  </a:lnTo>
                  <a:lnTo>
                    <a:pt x="878" y="841"/>
                  </a:lnTo>
                  <a:lnTo>
                    <a:pt x="878" y="840"/>
                  </a:lnTo>
                  <a:lnTo>
                    <a:pt x="880" y="839"/>
                  </a:lnTo>
                  <a:lnTo>
                    <a:pt x="881" y="838"/>
                  </a:lnTo>
                  <a:lnTo>
                    <a:pt x="885" y="837"/>
                  </a:lnTo>
                  <a:lnTo>
                    <a:pt x="889" y="836"/>
                  </a:lnTo>
                  <a:lnTo>
                    <a:pt x="892" y="834"/>
                  </a:lnTo>
                  <a:lnTo>
                    <a:pt x="892" y="833"/>
                  </a:lnTo>
                  <a:lnTo>
                    <a:pt x="893" y="832"/>
                  </a:lnTo>
                  <a:lnTo>
                    <a:pt x="893" y="830"/>
                  </a:lnTo>
                  <a:lnTo>
                    <a:pt x="893" y="828"/>
                  </a:lnTo>
                  <a:lnTo>
                    <a:pt x="893" y="827"/>
                  </a:lnTo>
                  <a:lnTo>
                    <a:pt x="894" y="827"/>
                  </a:lnTo>
                  <a:lnTo>
                    <a:pt x="896" y="826"/>
                  </a:lnTo>
                  <a:lnTo>
                    <a:pt x="899" y="826"/>
                  </a:lnTo>
                  <a:lnTo>
                    <a:pt x="901" y="826"/>
                  </a:lnTo>
                  <a:lnTo>
                    <a:pt x="903" y="825"/>
                  </a:lnTo>
                  <a:lnTo>
                    <a:pt x="906" y="818"/>
                  </a:lnTo>
                  <a:lnTo>
                    <a:pt x="909" y="811"/>
                  </a:lnTo>
                  <a:lnTo>
                    <a:pt x="912" y="812"/>
                  </a:lnTo>
                  <a:lnTo>
                    <a:pt x="914" y="813"/>
                  </a:lnTo>
                  <a:lnTo>
                    <a:pt x="917" y="813"/>
                  </a:lnTo>
                  <a:lnTo>
                    <a:pt x="920" y="811"/>
                  </a:lnTo>
                  <a:lnTo>
                    <a:pt x="924" y="808"/>
                  </a:lnTo>
                  <a:lnTo>
                    <a:pt x="928" y="805"/>
                  </a:lnTo>
                  <a:lnTo>
                    <a:pt x="929" y="804"/>
                  </a:lnTo>
                  <a:lnTo>
                    <a:pt x="930" y="804"/>
                  </a:lnTo>
                  <a:lnTo>
                    <a:pt x="933" y="804"/>
                  </a:lnTo>
                  <a:lnTo>
                    <a:pt x="936" y="804"/>
                  </a:lnTo>
                  <a:lnTo>
                    <a:pt x="944" y="807"/>
                  </a:lnTo>
                  <a:lnTo>
                    <a:pt x="951" y="809"/>
                  </a:lnTo>
                  <a:lnTo>
                    <a:pt x="955" y="811"/>
                  </a:lnTo>
                  <a:lnTo>
                    <a:pt x="956" y="812"/>
                  </a:lnTo>
                  <a:lnTo>
                    <a:pt x="956" y="814"/>
                  </a:lnTo>
                  <a:lnTo>
                    <a:pt x="956" y="816"/>
                  </a:lnTo>
                  <a:lnTo>
                    <a:pt x="957" y="817"/>
                  </a:lnTo>
                  <a:lnTo>
                    <a:pt x="959" y="817"/>
                  </a:lnTo>
                  <a:lnTo>
                    <a:pt x="960" y="817"/>
                  </a:lnTo>
                  <a:lnTo>
                    <a:pt x="962" y="816"/>
                  </a:lnTo>
                  <a:lnTo>
                    <a:pt x="964" y="815"/>
                  </a:lnTo>
                  <a:lnTo>
                    <a:pt x="965" y="815"/>
                  </a:lnTo>
                  <a:lnTo>
                    <a:pt x="967" y="815"/>
                  </a:lnTo>
                  <a:lnTo>
                    <a:pt x="965" y="812"/>
                  </a:lnTo>
                  <a:lnTo>
                    <a:pt x="965" y="810"/>
                  </a:lnTo>
                  <a:lnTo>
                    <a:pt x="965" y="809"/>
                  </a:lnTo>
                  <a:lnTo>
                    <a:pt x="968" y="807"/>
                  </a:lnTo>
                  <a:lnTo>
                    <a:pt x="969" y="806"/>
                  </a:lnTo>
                  <a:lnTo>
                    <a:pt x="971" y="806"/>
                  </a:lnTo>
                  <a:lnTo>
                    <a:pt x="976" y="813"/>
                  </a:lnTo>
                  <a:lnTo>
                    <a:pt x="978" y="813"/>
                  </a:lnTo>
                  <a:lnTo>
                    <a:pt x="980" y="813"/>
                  </a:lnTo>
                  <a:lnTo>
                    <a:pt x="982" y="813"/>
                  </a:lnTo>
                  <a:lnTo>
                    <a:pt x="984" y="813"/>
                  </a:lnTo>
                  <a:lnTo>
                    <a:pt x="984" y="817"/>
                  </a:lnTo>
                  <a:lnTo>
                    <a:pt x="985" y="817"/>
                  </a:lnTo>
                  <a:lnTo>
                    <a:pt x="986" y="817"/>
                  </a:lnTo>
                  <a:lnTo>
                    <a:pt x="988" y="816"/>
                  </a:lnTo>
                  <a:lnTo>
                    <a:pt x="989" y="814"/>
                  </a:lnTo>
                  <a:lnTo>
                    <a:pt x="988" y="813"/>
                  </a:lnTo>
                  <a:lnTo>
                    <a:pt x="982" y="811"/>
                  </a:lnTo>
                  <a:lnTo>
                    <a:pt x="982" y="809"/>
                  </a:lnTo>
                  <a:lnTo>
                    <a:pt x="983" y="808"/>
                  </a:lnTo>
                  <a:lnTo>
                    <a:pt x="984" y="807"/>
                  </a:lnTo>
                  <a:lnTo>
                    <a:pt x="984" y="805"/>
                  </a:lnTo>
                  <a:lnTo>
                    <a:pt x="986" y="804"/>
                  </a:lnTo>
                  <a:lnTo>
                    <a:pt x="981" y="801"/>
                  </a:lnTo>
                  <a:lnTo>
                    <a:pt x="976" y="800"/>
                  </a:lnTo>
                  <a:lnTo>
                    <a:pt x="974" y="800"/>
                  </a:lnTo>
                  <a:lnTo>
                    <a:pt x="972" y="796"/>
                  </a:lnTo>
                  <a:lnTo>
                    <a:pt x="974" y="796"/>
                  </a:lnTo>
                  <a:lnTo>
                    <a:pt x="976" y="797"/>
                  </a:lnTo>
                  <a:lnTo>
                    <a:pt x="979" y="798"/>
                  </a:lnTo>
                  <a:lnTo>
                    <a:pt x="980" y="798"/>
                  </a:lnTo>
                  <a:lnTo>
                    <a:pt x="982" y="798"/>
                  </a:lnTo>
                  <a:lnTo>
                    <a:pt x="982" y="794"/>
                  </a:lnTo>
                  <a:lnTo>
                    <a:pt x="990" y="795"/>
                  </a:lnTo>
                  <a:lnTo>
                    <a:pt x="992" y="795"/>
                  </a:lnTo>
                  <a:lnTo>
                    <a:pt x="997" y="796"/>
                  </a:lnTo>
                  <a:lnTo>
                    <a:pt x="997" y="795"/>
                  </a:lnTo>
                  <a:lnTo>
                    <a:pt x="997" y="793"/>
                  </a:lnTo>
                  <a:lnTo>
                    <a:pt x="999" y="792"/>
                  </a:lnTo>
                  <a:lnTo>
                    <a:pt x="1000" y="793"/>
                  </a:lnTo>
                  <a:lnTo>
                    <a:pt x="1001" y="794"/>
                  </a:lnTo>
                  <a:lnTo>
                    <a:pt x="1001" y="796"/>
                  </a:lnTo>
                  <a:lnTo>
                    <a:pt x="1002" y="797"/>
                  </a:lnTo>
                  <a:lnTo>
                    <a:pt x="1005" y="798"/>
                  </a:lnTo>
                  <a:lnTo>
                    <a:pt x="1009" y="792"/>
                  </a:lnTo>
                  <a:lnTo>
                    <a:pt x="1015" y="796"/>
                  </a:lnTo>
                  <a:lnTo>
                    <a:pt x="1015" y="795"/>
                  </a:lnTo>
                  <a:lnTo>
                    <a:pt x="1016" y="793"/>
                  </a:lnTo>
                  <a:lnTo>
                    <a:pt x="1017" y="792"/>
                  </a:lnTo>
                  <a:lnTo>
                    <a:pt x="1019" y="792"/>
                  </a:lnTo>
                  <a:lnTo>
                    <a:pt x="1020" y="793"/>
                  </a:lnTo>
                  <a:lnTo>
                    <a:pt x="1021" y="795"/>
                  </a:lnTo>
                  <a:lnTo>
                    <a:pt x="1020" y="798"/>
                  </a:lnTo>
                  <a:lnTo>
                    <a:pt x="1023" y="799"/>
                  </a:lnTo>
                  <a:lnTo>
                    <a:pt x="1025" y="799"/>
                  </a:lnTo>
                  <a:lnTo>
                    <a:pt x="1027" y="799"/>
                  </a:lnTo>
                  <a:lnTo>
                    <a:pt x="1030" y="800"/>
                  </a:lnTo>
                  <a:lnTo>
                    <a:pt x="1031" y="801"/>
                  </a:lnTo>
                  <a:lnTo>
                    <a:pt x="1031" y="802"/>
                  </a:lnTo>
                  <a:lnTo>
                    <a:pt x="1032" y="806"/>
                  </a:lnTo>
                  <a:lnTo>
                    <a:pt x="1034" y="805"/>
                  </a:lnTo>
                  <a:lnTo>
                    <a:pt x="1036" y="806"/>
                  </a:lnTo>
                  <a:lnTo>
                    <a:pt x="1042" y="807"/>
                  </a:lnTo>
                  <a:lnTo>
                    <a:pt x="1043" y="804"/>
                  </a:lnTo>
                  <a:lnTo>
                    <a:pt x="1045" y="802"/>
                  </a:lnTo>
                  <a:lnTo>
                    <a:pt x="1047" y="801"/>
                  </a:lnTo>
                  <a:lnTo>
                    <a:pt x="1048" y="802"/>
                  </a:lnTo>
                  <a:lnTo>
                    <a:pt x="1050" y="802"/>
                  </a:lnTo>
                  <a:lnTo>
                    <a:pt x="1051" y="802"/>
                  </a:lnTo>
                  <a:lnTo>
                    <a:pt x="1053" y="807"/>
                  </a:lnTo>
                  <a:lnTo>
                    <a:pt x="1054" y="809"/>
                  </a:lnTo>
                  <a:lnTo>
                    <a:pt x="1055" y="811"/>
                  </a:lnTo>
                  <a:lnTo>
                    <a:pt x="1061" y="813"/>
                  </a:lnTo>
                  <a:lnTo>
                    <a:pt x="1061" y="816"/>
                  </a:lnTo>
                  <a:lnTo>
                    <a:pt x="1062" y="819"/>
                  </a:lnTo>
                  <a:lnTo>
                    <a:pt x="1062" y="826"/>
                  </a:lnTo>
                  <a:lnTo>
                    <a:pt x="1061" y="834"/>
                  </a:lnTo>
                  <a:lnTo>
                    <a:pt x="1061" y="840"/>
                  </a:lnTo>
                  <a:lnTo>
                    <a:pt x="1065" y="838"/>
                  </a:lnTo>
                  <a:lnTo>
                    <a:pt x="1068" y="838"/>
                  </a:lnTo>
                  <a:lnTo>
                    <a:pt x="1067" y="841"/>
                  </a:lnTo>
                  <a:lnTo>
                    <a:pt x="1065" y="844"/>
                  </a:lnTo>
                  <a:lnTo>
                    <a:pt x="1064" y="847"/>
                  </a:lnTo>
                  <a:lnTo>
                    <a:pt x="1064" y="849"/>
                  </a:lnTo>
                  <a:lnTo>
                    <a:pt x="1065" y="852"/>
                  </a:lnTo>
                  <a:lnTo>
                    <a:pt x="1072" y="855"/>
                  </a:lnTo>
                  <a:lnTo>
                    <a:pt x="1073" y="858"/>
                  </a:lnTo>
                  <a:lnTo>
                    <a:pt x="1073" y="860"/>
                  </a:lnTo>
                  <a:lnTo>
                    <a:pt x="1073" y="862"/>
                  </a:lnTo>
                  <a:lnTo>
                    <a:pt x="1074" y="865"/>
                  </a:lnTo>
                  <a:lnTo>
                    <a:pt x="1077" y="868"/>
                  </a:lnTo>
                  <a:lnTo>
                    <a:pt x="1080" y="871"/>
                  </a:lnTo>
                  <a:lnTo>
                    <a:pt x="1080" y="872"/>
                  </a:lnTo>
                  <a:lnTo>
                    <a:pt x="1080" y="874"/>
                  </a:lnTo>
                  <a:lnTo>
                    <a:pt x="1080" y="875"/>
                  </a:lnTo>
                  <a:lnTo>
                    <a:pt x="1080" y="877"/>
                  </a:lnTo>
                  <a:lnTo>
                    <a:pt x="1082" y="878"/>
                  </a:lnTo>
                  <a:lnTo>
                    <a:pt x="1085" y="879"/>
                  </a:lnTo>
                  <a:lnTo>
                    <a:pt x="1087" y="879"/>
                  </a:lnTo>
                  <a:lnTo>
                    <a:pt x="1090" y="880"/>
                  </a:lnTo>
                  <a:lnTo>
                    <a:pt x="1091" y="872"/>
                  </a:lnTo>
                  <a:lnTo>
                    <a:pt x="1093" y="865"/>
                  </a:lnTo>
                  <a:lnTo>
                    <a:pt x="1094" y="857"/>
                  </a:lnTo>
                  <a:lnTo>
                    <a:pt x="1094" y="852"/>
                  </a:lnTo>
                  <a:lnTo>
                    <a:pt x="1093" y="848"/>
                  </a:lnTo>
                  <a:lnTo>
                    <a:pt x="1091" y="838"/>
                  </a:lnTo>
                  <a:lnTo>
                    <a:pt x="1088" y="827"/>
                  </a:lnTo>
                  <a:lnTo>
                    <a:pt x="1084" y="825"/>
                  </a:lnTo>
                  <a:lnTo>
                    <a:pt x="1084" y="824"/>
                  </a:lnTo>
                  <a:lnTo>
                    <a:pt x="1084" y="823"/>
                  </a:lnTo>
                  <a:lnTo>
                    <a:pt x="1085" y="822"/>
                  </a:lnTo>
                  <a:lnTo>
                    <a:pt x="1086" y="821"/>
                  </a:lnTo>
                  <a:lnTo>
                    <a:pt x="1086" y="820"/>
                  </a:lnTo>
                  <a:lnTo>
                    <a:pt x="1086" y="819"/>
                  </a:lnTo>
                  <a:lnTo>
                    <a:pt x="1083" y="815"/>
                  </a:lnTo>
                  <a:lnTo>
                    <a:pt x="1081" y="813"/>
                  </a:lnTo>
                  <a:lnTo>
                    <a:pt x="1080" y="811"/>
                  </a:lnTo>
                  <a:lnTo>
                    <a:pt x="1080" y="808"/>
                  </a:lnTo>
                  <a:lnTo>
                    <a:pt x="1080" y="804"/>
                  </a:lnTo>
                  <a:lnTo>
                    <a:pt x="1080" y="801"/>
                  </a:lnTo>
                  <a:lnTo>
                    <a:pt x="1080" y="799"/>
                  </a:lnTo>
                  <a:lnTo>
                    <a:pt x="1080" y="798"/>
                  </a:lnTo>
                  <a:lnTo>
                    <a:pt x="1079" y="797"/>
                  </a:lnTo>
                  <a:lnTo>
                    <a:pt x="1076" y="795"/>
                  </a:lnTo>
                  <a:lnTo>
                    <a:pt x="1075" y="794"/>
                  </a:lnTo>
                  <a:lnTo>
                    <a:pt x="1074" y="793"/>
                  </a:lnTo>
                  <a:lnTo>
                    <a:pt x="1075" y="792"/>
                  </a:lnTo>
                  <a:lnTo>
                    <a:pt x="1076" y="792"/>
                  </a:lnTo>
                  <a:lnTo>
                    <a:pt x="1078" y="792"/>
                  </a:lnTo>
                  <a:lnTo>
                    <a:pt x="1077" y="792"/>
                  </a:lnTo>
                  <a:lnTo>
                    <a:pt x="1077" y="791"/>
                  </a:lnTo>
                  <a:lnTo>
                    <a:pt x="1078" y="790"/>
                  </a:lnTo>
                  <a:lnTo>
                    <a:pt x="1081" y="789"/>
                  </a:lnTo>
                  <a:lnTo>
                    <a:pt x="1082" y="789"/>
                  </a:lnTo>
                  <a:lnTo>
                    <a:pt x="1080" y="788"/>
                  </a:lnTo>
                  <a:lnTo>
                    <a:pt x="1079" y="788"/>
                  </a:lnTo>
                  <a:lnTo>
                    <a:pt x="1079" y="786"/>
                  </a:lnTo>
                  <a:lnTo>
                    <a:pt x="1081" y="780"/>
                  </a:lnTo>
                  <a:lnTo>
                    <a:pt x="1086" y="771"/>
                  </a:lnTo>
                  <a:lnTo>
                    <a:pt x="1086" y="769"/>
                  </a:lnTo>
                  <a:lnTo>
                    <a:pt x="1085" y="767"/>
                  </a:lnTo>
                  <a:lnTo>
                    <a:pt x="1085" y="765"/>
                  </a:lnTo>
                  <a:lnTo>
                    <a:pt x="1086" y="763"/>
                  </a:lnTo>
                  <a:lnTo>
                    <a:pt x="1087" y="763"/>
                  </a:lnTo>
                  <a:lnTo>
                    <a:pt x="1088" y="763"/>
                  </a:lnTo>
                  <a:lnTo>
                    <a:pt x="1091" y="763"/>
                  </a:lnTo>
                  <a:lnTo>
                    <a:pt x="1092" y="762"/>
                  </a:lnTo>
                  <a:lnTo>
                    <a:pt x="1093" y="760"/>
                  </a:lnTo>
                  <a:lnTo>
                    <a:pt x="1093" y="759"/>
                  </a:lnTo>
                  <a:lnTo>
                    <a:pt x="1093" y="757"/>
                  </a:lnTo>
                  <a:lnTo>
                    <a:pt x="1096" y="756"/>
                  </a:lnTo>
                  <a:lnTo>
                    <a:pt x="1101" y="755"/>
                  </a:lnTo>
                  <a:lnTo>
                    <a:pt x="1104" y="753"/>
                  </a:lnTo>
                  <a:lnTo>
                    <a:pt x="1106" y="753"/>
                  </a:lnTo>
                  <a:lnTo>
                    <a:pt x="1107" y="752"/>
                  </a:lnTo>
                  <a:lnTo>
                    <a:pt x="1108" y="750"/>
                  </a:lnTo>
                  <a:lnTo>
                    <a:pt x="1107" y="748"/>
                  </a:lnTo>
                  <a:lnTo>
                    <a:pt x="1108" y="746"/>
                  </a:lnTo>
                  <a:lnTo>
                    <a:pt x="1109" y="744"/>
                  </a:lnTo>
                  <a:lnTo>
                    <a:pt x="1112" y="743"/>
                  </a:lnTo>
                  <a:lnTo>
                    <a:pt x="1115" y="742"/>
                  </a:lnTo>
                  <a:lnTo>
                    <a:pt x="1119" y="742"/>
                  </a:lnTo>
                  <a:lnTo>
                    <a:pt x="1121" y="741"/>
                  </a:lnTo>
                  <a:lnTo>
                    <a:pt x="1122" y="740"/>
                  </a:lnTo>
                  <a:lnTo>
                    <a:pt x="1123" y="739"/>
                  </a:lnTo>
                  <a:lnTo>
                    <a:pt x="1124" y="738"/>
                  </a:lnTo>
                  <a:lnTo>
                    <a:pt x="1125" y="735"/>
                  </a:lnTo>
                  <a:lnTo>
                    <a:pt x="1126" y="731"/>
                  </a:lnTo>
                  <a:lnTo>
                    <a:pt x="1128" y="729"/>
                  </a:lnTo>
                  <a:lnTo>
                    <a:pt x="1131" y="728"/>
                  </a:lnTo>
                  <a:lnTo>
                    <a:pt x="1134" y="727"/>
                  </a:lnTo>
                  <a:lnTo>
                    <a:pt x="1130" y="719"/>
                  </a:lnTo>
                  <a:lnTo>
                    <a:pt x="1132" y="718"/>
                  </a:lnTo>
                  <a:lnTo>
                    <a:pt x="1134" y="718"/>
                  </a:lnTo>
                  <a:lnTo>
                    <a:pt x="1138" y="717"/>
                  </a:lnTo>
                  <a:lnTo>
                    <a:pt x="1136" y="713"/>
                  </a:lnTo>
                  <a:lnTo>
                    <a:pt x="1135" y="713"/>
                  </a:lnTo>
                  <a:lnTo>
                    <a:pt x="1136" y="713"/>
                  </a:lnTo>
                  <a:lnTo>
                    <a:pt x="1140" y="712"/>
                  </a:lnTo>
                  <a:lnTo>
                    <a:pt x="1145" y="712"/>
                  </a:lnTo>
                  <a:lnTo>
                    <a:pt x="1149" y="711"/>
                  </a:lnTo>
                  <a:lnTo>
                    <a:pt x="1148" y="710"/>
                  </a:lnTo>
                  <a:lnTo>
                    <a:pt x="1147" y="708"/>
                  </a:lnTo>
                  <a:lnTo>
                    <a:pt x="1145" y="706"/>
                  </a:lnTo>
                  <a:lnTo>
                    <a:pt x="1144" y="705"/>
                  </a:lnTo>
                  <a:lnTo>
                    <a:pt x="1141" y="705"/>
                  </a:lnTo>
                  <a:lnTo>
                    <a:pt x="1138" y="706"/>
                  </a:lnTo>
                  <a:lnTo>
                    <a:pt x="1138" y="702"/>
                  </a:lnTo>
                  <a:lnTo>
                    <a:pt x="1142" y="701"/>
                  </a:lnTo>
                  <a:lnTo>
                    <a:pt x="1144" y="701"/>
                  </a:lnTo>
                  <a:lnTo>
                    <a:pt x="1145" y="700"/>
                  </a:lnTo>
                  <a:lnTo>
                    <a:pt x="1145" y="696"/>
                  </a:lnTo>
                  <a:lnTo>
                    <a:pt x="1145" y="692"/>
                  </a:lnTo>
                  <a:lnTo>
                    <a:pt x="1144" y="692"/>
                  </a:lnTo>
                  <a:lnTo>
                    <a:pt x="1142" y="691"/>
                  </a:lnTo>
                  <a:lnTo>
                    <a:pt x="1139" y="691"/>
                  </a:lnTo>
                  <a:lnTo>
                    <a:pt x="1138" y="690"/>
                  </a:lnTo>
                  <a:lnTo>
                    <a:pt x="1136" y="689"/>
                  </a:lnTo>
                  <a:lnTo>
                    <a:pt x="1136" y="687"/>
                  </a:lnTo>
                  <a:lnTo>
                    <a:pt x="1135" y="686"/>
                  </a:lnTo>
                  <a:lnTo>
                    <a:pt x="1134" y="685"/>
                  </a:lnTo>
                  <a:lnTo>
                    <a:pt x="1137" y="681"/>
                  </a:lnTo>
                  <a:lnTo>
                    <a:pt x="1139" y="678"/>
                  </a:lnTo>
                  <a:lnTo>
                    <a:pt x="1140" y="677"/>
                  </a:lnTo>
                  <a:lnTo>
                    <a:pt x="1139" y="677"/>
                  </a:lnTo>
                  <a:lnTo>
                    <a:pt x="1138" y="676"/>
                  </a:lnTo>
                  <a:lnTo>
                    <a:pt x="1137" y="676"/>
                  </a:lnTo>
                  <a:lnTo>
                    <a:pt x="1136" y="675"/>
                  </a:lnTo>
                  <a:lnTo>
                    <a:pt x="1136" y="674"/>
                  </a:lnTo>
                  <a:lnTo>
                    <a:pt x="1137" y="673"/>
                  </a:lnTo>
                  <a:lnTo>
                    <a:pt x="1138" y="672"/>
                  </a:lnTo>
                  <a:lnTo>
                    <a:pt x="1138" y="671"/>
                  </a:lnTo>
                  <a:lnTo>
                    <a:pt x="1136" y="670"/>
                  </a:lnTo>
                  <a:lnTo>
                    <a:pt x="1134" y="669"/>
                  </a:lnTo>
                  <a:lnTo>
                    <a:pt x="1132" y="668"/>
                  </a:lnTo>
                  <a:lnTo>
                    <a:pt x="1130" y="667"/>
                  </a:lnTo>
                  <a:lnTo>
                    <a:pt x="1130" y="666"/>
                  </a:lnTo>
                  <a:lnTo>
                    <a:pt x="1131" y="665"/>
                  </a:lnTo>
                  <a:lnTo>
                    <a:pt x="1132" y="666"/>
                  </a:lnTo>
                  <a:lnTo>
                    <a:pt x="1134" y="665"/>
                  </a:lnTo>
                  <a:lnTo>
                    <a:pt x="1134" y="664"/>
                  </a:lnTo>
                  <a:lnTo>
                    <a:pt x="1133" y="663"/>
                  </a:lnTo>
                  <a:lnTo>
                    <a:pt x="1133" y="662"/>
                  </a:lnTo>
                  <a:lnTo>
                    <a:pt x="1132" y="660"/>
                  </a:lnTo>
                  <a:lnTo>
                    <a:pt x="1135" y="656"/>
                  </a:lnTo>
                  <a:lnTo>
                    <a:pt x="1136" y="652"/>
                  </a:lnTo>
                  <a:lnTo>
                    <a:pt x="1138" y="642"/>
                  </a:lnTo>
                  <a:lnTo>
                    <a:pt x="1140" y="642"/>
                  </a:lnTo>
                  <a:lnTo>
                    <a:pt x="1141" y="642"/>
                  </a:lnTo>
                  <a:lnTo>
                    <a:pt x="1145" y="640"/>
                  </a:lnTo>
                  <a:lnTo>
                    <a:pt x="1145" y="641"/>
                  </a:lnTo>
                  <a:lnTo>
                    <a:pt x="1146" y="643"/>
                  </a:lnTo>
                  <a:lnTo>
                    <a:pt x="1147" y="644"/>
                  </a:lnTo>
                  <a:lnTo>
                    <a:pt x="1146" y="645"/>
                  </a:lnTo>
                  <a:lnTo>
                    <a:pt x="1145" y="646"/>
                  </a:lnTo>
                  <a:lnTo>
                    <a:pt x="1143" y="649"/>
                  </a:lnTo>
                  <a:lnTo>
                    <a:pt x="1142" y="653"/>
                  </a:lnTo>
                  <a:lnTo>
                    <a:pt x="1141" y="656"/>
                  </a:lnTo>
                  <a:lnTo>
                    <a:pt x="1140" y="663"/>
                  </a:lnTo>
                  <a:lnTo>
                    <a:pt x="1140" y="665"/>
                  </a:lnTo>
                  <a:lnTo>
                    <a:pt x="1139" y="665"/>
                  </a:lnTo>
                  <a:lnTo>
                    <a:pt x="1141" y="667"/>
                  </a:lnTo>
                  <a:lnTo>
                    <a:pt x="1141" y="669"/>
                  </a:lnTo>
                  <a:lnTo>
                    <a:pt x="1143" y="669"/>
                  </a:lnTo>
                  <a:lnTo>
                    <a:pt x="1144" y="668"/>
                  </a:lnTo>
                  <a:lnTo>
                    <a:pt x="1146" y="667"/>
                  </a:lnTo>
                  <a:lnTo>
                    <a:pt x="1149" y="667"/>
                  </a:lnTo>
                  <a:lnTo>
                    <a:pt x="1149" y="671"/>
                  </a:lnTo>
                  <a:lnTo>
                    <a:pt x="1155" y="671"/>
                  </a:lnTo>
                  <a:lnTo>
                    <a:pt x="1157" y="662"/>
                  </a:lnTo>
                  <a:lnTo>
                    <a:pt x="1159" y="652"/>
                  </a:lnTo>
                  <a:lnTo>
                    <a:pt x="1157" y="652"/>
                  </a:lnTo>
                  <a:lnTo>
                    <a:pt x="1155" y="651"/>
                  </a:lnTo>
                  <a:lnTo>
                    <a:pt x="1154" y="651"/>
                  </a:lnTo>
                  <a:lnTo>
                    <a:pt x="1153" y="651"/>
                  </a:lnTo>
                  <a:lnTo>
                    <a:pt x="1153" y="650"/>
                  </a:lnTo>
                  <a:lnTo>
                    <a:pt x="1153" y="647"/>
                  </a:lnTo>
                  <a:lnTo>
                    <a:pt x="1153" y="644"/>
                  </a:lnTo>
                  <a:lnTo>
                    <a:pt x="1164" y="644"/>
                  </a:lnTo>
                  <a:lnTo>
                    <a:pt x="1166" y="643"/>
                  </a:lnTo>
                  <a:lnTo>
                    <a:pt x="1168" y="642"/>
                  </a:lnTo>
                  <a:lnTo>
                    <a:pt x="1171" y="637"/>
                  </a:lnTo>
                  <a:lnTo>
                    <a:pt x="1176" y="629"/>
                  </a:lnTo>
                  <a:lnTo>
                    <a:pt x="1170" y="625"/>
                  </a:lnTo>
                  <a:lnTo>
                    <a:pt x="1170" y="623"/>
                  </a:lnTo>
                  <a:lnTo>
                    <a:pt x="1170" y="622"/>
                  </a:lnTo>
                  <a:lnTo>
                    <a:pt x="1171" y="622"/>
                  </a:lnTo>
                  <a:lnTo>
                    <a:pt x="1172" y="621"/>
                  </a:lnTo>
                  <a:lnTo>
                    <a:pt x="1172" y="620"/>
                  </a:lnTo>
                  <a:lnTo>
                    <a:pt x="1172" y="619"/>
                  </a:lnTo>
                  <a:lnTo>
                    <a:pt x="1178" y="614"/>
                  </a:lnTo>
                  <a:lnTo>
                    <a:pt x="1181" y="611"/>
                  </a:lnTo>
                  <a:lnTo>
                    <a:pt x="1184" y="610"/>
                  </a:lnTo>
                  <a:lnTo>
                    <a:pt x="1187" y="610"/>
                  </a:lnTo>
                  <a:lnTo>
                    <a:pt x="1191" y="610"/>
                  </a:lnTo>
                  <a:lnTo>
                    <a:pt x="1193" y="606"/>
                  </a:lnTo>
                  <a:lnTo>
                    <a:pt x="1196" y="606"/>
                  </a:lnTo>
                  <a:lnTo>
                    <a:pt x="1198" y="607"/>
                  </a:lnTo>
                  <a:lnTo>
                    <a:pt x="1200" y="608"/>
                  </a:lnTo>
                  <a:lnTo>
                    <a:pt x="1203" y="608"/>
                  </a:lnTo>
                  <a:lnTo>
                    <a:pt x="1203" y="603"/>
                  </a:lnTo>
                  <a:lnTo>
                    <a:pt x="1205" y="598"/>
                  </a:lnTo>
                  <a:lnTo>
                    <a:pt x="1207" y="599"/>
                  </a:lnTo>
                  <a:lnTo>
                    <a:pt x="1207" y="600"/>
                  </a:lnTo>
                  <a:lnTo>
                    <a:pt x="1208" y="602"/>
                  </a:lnTo>
                  <a:lnTo>
                    <a:pt x="1209" y="604"/>
                  </a:lnTo>
                  <a:lnTo>
                    <a:pt x="1212" y="604"/>
                  </a:lnTo>
                  <a:lnTo>
                    <a:pt x="1213" y="603"/>
                  </a:lnTo>
                  <a:lnTo>
                    <a:pt x="1212" y="602"/>
                  </a:lnTo>
                  <a:lnTo>
                    <a:pt x="1215" y="601"/>
                  </a:lnTo>
                  <a:lnTo>
                    <a:pt x="1218" y="600"/>
                  </a:lnTo>
                  <a:lnTo>
                    <a:pt x="1214" y="597"/>
                  </a:lnTo>
                  <a:lnTo>
                    <a:pt x="1209" y="594"/>
                  </a:lnTo>
                  <a:lnTo>
                    <a:pt x="1210" y="592"/>
                  </a:lnTo>
                  <a:lnTo>
                    <a:pt x="1212" y="591"/>
                  </a:lnTo>
                  <a:lnTo>
                    <a:pt x="1214" y="589"/>
                  </a:lnTo>
                  <a:lnTo>
                    <a:pt x="1215" y="586"/>
                  </a:lnTo>
                  <a:lnTo>
                    <a:pt x="1214" y="585"/>
                  </a:lnTo>
                  <a:lnTo>
                    <a:pt x="1213" y="584"/>
                  </a:lnTo>
                  <a:lnTo>
                    <a:pt x="1212" y="584"/>
                  </a:lnTo>
                  <a:lnTo>
                    <a:pt x="1212" y="583"/>
                  </a:lnTo>
                  <a:lnTo>
                    <a:pt x="1216" y="581"/>
                  </a:lnTo>
                  <a:lnTo>
                    <a:pt x="1218" y="578"/>
                  </a:lnTo>
                  <a:lnTo>
                    <a:pt x="1218" y="574"/>
                  </a:lnTo>
                  <a:lnTo>
                    <a:pt x="1219" y="571"/>
                  </a:lnTo>
                  <a:lnTo>
                    <a:pt x="1220" y="567"/>
                  </a:lnTo>
                  <a:lnTo>
                    <a:pt x="1227" y="567"/>
                  </a:lnTo>
                  <a:lnTo>
                    <a:pt x="1230" y="567"/>
                  </a:lnTo>
                  <a:lnTo>
                    <a:pt x="1232" y="566"/>
                  </a:lnTo>
                  <a:lnTo>
                    <a:pt x="1233" y="565"/>
                  </a:lnTo>
                  <a:lnTo>
                    <a:pt x="1235" y="563"/>
                  </a:lnTo>
                  <a:lnTo>
                    <a:pt x="1239" y="556"/>
                  </a:lnTo>
                  <a:lnTo>
                    <a:pt x="1239" y="562"/>
                  </a:lnTo>
                  <a:lnTo>
                    <a:pt x="1245" y="558"/>
                  </a:lnTo>
                  <a:lnTo>
                    <a:pt x="1245" y="559"/>
                  </a:lnTo>
                  <a:lnTo>
                    <a:pt x="1246" y="560"/>
                  </a:lnTo>
                  <a:lnTo>
                    <a:pt x="1249" y="562"/>
                  </a:lnTo>
                  <a:lnTo>
                    <a:pt x="1258" y="554"/>
                  </a:lnTo>
                  <a:lnTo>
                    <a:pt x="1256" y="548"/>
                  </a:lnTo>
                  <a:lnTo>
                    <a:pt x="1255" y="542"/>
                  </a:lnTo>
                  <a:lnTo>
                    <a:pt x="1258" y="544"/>
                  </a:lnTo>
                  <a:lnTo>
                    <a:pt x="1260" y="546"/>
                  </a:lnTo>
                  <a:lnTo>
                    <a:pt x="1264" y="546"/>
                  </a:lnTo>
                  <a:lnTo>
                    <a:pt x="1267" y="546"/>
                  </a:lnTo>
                  <a:lnTo>
                    <a:pt x="1270" y="545"/>
                  </a:lnTo>
                  <a:lnTo>
                    <a:pt x="1272" y="544"/>
                  </a:lnTo>
                  <a:lnTo>
                    <a:pt x="1270" y="542"/>
                  </a:lnTo>
                  <a:lnTo>
                    <a:pt x="1269" y="540"/>
                  </a:lnTo>
                  <a:lnTo>
                    <a:pt x="1270" y="539"/>
                  </a:lnTo>
                  <a:lnTo>
                    <a:pt x="1271" y="539"/>
                  </a:lnTo>
                  <a:lnTo>
                    <a:pt x="1272" y="540"/>
                  </a:lnTo>
                  <a:lnTo>
                    <a:pt x="1274" y="542"/>
                  </a:lnTo>
                  <a:lnTo>
                    <a:pt x="1278" y="539"/>
                  </a:lnTo>
                  <a:lnTo>
                    <a:pt x="1281" y="536"/>
                  </a:lnTo>
                  <a:lnTo>
                    <a:pt x="1284" y="532"/>
                  </a:lnTo>
                  <a:lnTo>
                    <a:pt x="1287" y="527"/>
                  </a:lnTo>
                  <a:lnTo>
                    <a:pt x="1287" y="529"/>
                  </a:lnTo>
                  <a:lnTo>
                    <a:pt x="1288" y="528"/>
                  </a:lnTo>
                  <a:lnTo>
                    <a:pt x="1290" y="529"/>
                  </a:lnTo>
                  <a:lnTo>
                    <a:pt x="1291" y="531"/>
                  </a:lnTo>
                  <a:lnTo>
                    <a:pt x="1287" y="531"/>
                  </a:lnTo>
                  <a:lnTo>
                    <a:pt x="1287" y="534"/>
                  </a:lnTo>
                  <a:lnTo>
                    <a:pt x="1287" y="536"/>
                  </a:lnTo>
                  <a:lnTo>
                    <a:pt x="1286" y="538"/>
                  </a:lnTo>
                  <a:lnTo>
                    <a:pt x="1285" y="541"/>
                  </a:lnTo>
                  <a:lnTo>
                    <a:pt x="1293" y="539"/>
                  </a:lnTo>
                  <a:lnTo>
                    <a:pt x="1301" y="537"/>
                  </a:lnTo>
                  <a:lnTo>
                    <a:pt x="1303" y="538"/>
                  </a:lnTo>
                  <a:lnTo>
                    <a:pt x="1303" y="540"/>
                  </a:lnTo>
                  <a:lnTo>
                    <a:pt x="1303" y="541"/>
                  </a:lnTo>
                  <a:lnTo>
                    <a:pt x="1300" y="541"/>
                  </a:lnTo>
                  <a:lnTo>
                    <a:pt x="1300" y="542"/>
                  </a:lnTo>
                  <a:lnTo>
                    <a:pt x="1300" y="544"/>
                  </a:lnTo>
                  <a:lnTo>
                    <a:pt x="1299" y="546"/>
                  </a:lnTo>
                  <a:lnTo>
                    <a:pt x="1292" y="545"/>
                  </a:lnTo>
                  <a:lnTo>
                    <a:pt x="1290" y="544"/>
                  </a:lnTo>
                  <a:lnTo>
                    <a:pt x="1289" y="544"/>
                  </a:lnTo>
                  <a:lnTo>
                    <a:pt x="1285" y="546"/>
                  </a:lnTo>
                  <a:lnTo>
                    <a:pt x="1280" y="548"/>
                  </a:lnTo>
                  <a:lnTo>
                    <a:pt x="1280" y="552"/>
                  </a:lnTo>
                  <a:lnTo>
                    <a:pt x="1274" y="552"/>
                  </a:lnTo>
                  <a:lnTo>
                    <a:pt x="1272" y="555"/>
                  </a:lnTo>
                  <a:lnTo>
                    <a:pt x="1270" y="558"/>
                  </a:lnTo>
                  <a:lnTo>
                    <a:pt x="1269" y="560"/>
                  </a:lnTo>
                  <a:lnTo>
                    <a:pt x="1268" y="562"/>
                  </a:lnTo>
                  <a:lnTo>
                    <a:pt x="1268" y="564"/>
                  </a:lnTo>
                  <a:lnTo>
                    <a:pt x="1269" y="565"/>
                  </a:lnTo>
                  <a:lnTo>
                    <a:pt x="1271" y="567"/>
                  </a:lnTo>
                  <a:lnTo>
                    <a:pt x="1276" y="569"/>
                  </a:lnTo>
                  <a:lnTo>
                    <a:pt x="1278" y="573"/>
                  </a:lnTo>
                  <a:lnTo>
                    <a:pt x="1280" y="573"/>
                  </a:lnTo>
                  <a:lnTo>
                    <a:pt x="1281" y="572"/>
                  </a:lnTo>
                  <a:lnTo>
                    <a:pt x="1282" y="571"/>
                  </a:lnTo>
                  <a:lnTo>
                    <a:pt x="1283" y="571"/>
                  </a:lnTo>
                  <a:lnTo>
                    <a:pt x="1284" y="572"/>
                  </a:lnTo>
                  <a:lnTo>
                    <a:pt x="1284" y="573"/>
                  </a:lnTo>
                  <a:lnTo>
                    <a:pt x="1284" y="574"/>
                  </a:lnTo>
                  <a:lnTo>
                    <a:pt x="1285" y="575"/>
                  </a:lnTo>
                  <a:lnTo>
                    <a:pt x="1293" y="569"/>
                  </a:lnTo>
                  <a:lnTo>
                    <a:pt x="1294" y="567"/>
                  </a:lnTo>
                  <a:lnTo>
                    <a:pt x="1294" y="564"/>
                  </a:lnTo>
                  <a:lnTo>
                    <a:pt x="1294" y="562"/>
                  </a:lnTo>
                  <a:lnTo>
                    <a:pt x="1295" y="560"/>
                  </a:lnTo>
                  <a:lnTo>
                    <a:pt x="1298" y="557"/>
                  </a:lnTo>
                  <a:lnTo>
                    <a:pt x="1299" y="557"/>
                  </a:lnTo>
                  <a:lnTo>
                    <a:pt x="1299" y="558"/>
                  </a:lnTo>
                  <a:lnTo>
                    <a:pt x="1300" y="560"/>
                  </a:lnTo>
                  <a:lnTo>
                    <a:pt x="1301" y="560"/>
                  </a:lnTo>
                  <a:lnTo>
                    <a:pt x="1303" y="560"/>
                  </a:lnTo>
                  <a:lnTo>
                    <a:pt x="1303" y="557"/>
                  </a:lnTo>
                  <a:lnTo>
                    <a:pt x="1304" y="555"/>
                  </a:lnTo>
                  <a:lnTo>
                    <a:pt x="1305" y="554"/>
                  </a:lnTo>
                  <a:lnTo>
                    <a:pt x="1307" y="554"/>
                  </a:lnTo>
                  <a:lnTo>
                    <a:pt x="1309" y="554"/>
                  </a:lnTo>
                  <a:lnTo>
                    <a:pt x="1312" y="554"/>
                  </a:lnTo>
                  <a:lnTo>
                    <a:pt x="1314" y="554"/>
                  </a:lnTo>
                  <a:lnTo>
                    <a:pt x="1314" y="552"/>
                  </a:lnTo>
                  <a:lnTo>
                    <a:pt x="1321" y="549"/>
                  </a:lnTo>
                  <a:lnTo>
                    <a:pt x="1324" y="547"/>
                  </a:lnTo>
                  <a:lnTo>
                    <a:pt x="1325" y="546"/>
                  </a:lnTo>
                  <a:lnTo>
                    <a:pt x="1326" y="544"/>
                  </a:lnTo>
                  <a:lnTo>
                    <a:pt x="1326" y="541"/>
                  </a:lnTo>
                  <a:lnTo>
                    <a:pt x="1329" y="541"/>
                  </a:lnTo>
                  <a:lnTo>
                    <a:pt x="1328" y="538"/>
                  </a:lnTo>
                  <a:lnTo>
                    <a:pt x="1328" y="535"/>
                  </a:lnTo>
                  <a:lnTo>
                    <a:pt x="1326" y="529"/>
                  </a:lnTo>
                  <a:lnTo>
                    <a:pt x="1322" y="532"/>
                  </a:lnTo>
                  <a:lnTo>
                    <a:pt x="1318" y="535"/>
                  </a:lnTo>
                  <a:lnTo>
                    <a:pt x="1316" y="536"/>
                  </a:lnTo>
                  <a:lnTo>
                    <a:pt x="1313" y="536"/>
                  </a:lnTo>
                  <a:lnTo>
                    <a:pt x="1311" y="536"/>
                  </a:lnTo>
                  <a:lnTo>
                    <a:pt x="1308" y="535"/>
                  </a:lnTo>
                  <a:lnTo>
                    <a:pt x="1305" y="531"/>
                  </a:lnTo>
                  <a:lnTo>
                    <a:pt x="1302" y="531"/>
                  </a:lnTo>
                  <a:lnTo>
                    <a:pt x="1301" y="532"/>
                  </a:lnTo>
                  <a:lnTo>
                    <a:pt x="1300" y="533"/>
                  </a:lnTo>
                  <a:lnTo>
                    <a:pt x="1299" y="533"/>
                  </a:lnTo>
                  <a:lnTo>
                    <a:pt x="1299" y="532"/>
                  </a:lnTo>
                  <a:lnTo>
                    <a:pt x="1298" y="531"/>
                  </a:lnTo>
                  <a:lnTo>
                    <a:pt x="1297" y="529"/>
                  </a:lnTo>
                  <a:lnTo>
                    <a:pt x="1301" y="529"/>
                  </a:lnTo>
                  <a:lnTo>
                    <a:pt x="1301" y="528"/>
                  </a:lnTo>
                  <a:lnTo>
                    <a:pt x="1301" y="527"/>
                  </a:lnTo>
                  <a:lnTo>
                    <a:pt x="1303" y="525"/>
                  </a:lnTo>
                  <a:lnTo>
                    <a:pt x="1295" y="523"/>
                  </a:lnTo>
                  <a:lnTo>
                    <a:pt x="1289" y="521"/>
                  </a:lnTo>
                  <a:lnTo>
                    <a:pt x="1290" y="516"/>
                  </a:lnTo>
                  <a:lnTo>
                    <a:pt x="1290" y="513"/>
                  </a:lnTo>
                  <a:lnTo>
                    <a:pt x="1290" y="512"/>
                  </a:lnTo>
                  <a:lnTo>
                    <a:pt x="1289" y="512"/>
                  </a:lnTo>
                  <a:lnTo>
                    <a:pt x="1291" y="512"/>
                  </a:lnTo>
                  <a:lnTo>
                    <a:pt x="1291" y="511"/>
                  </a:lnTo>
                  <a:lnTo>
                    <a:pt x="1291" y="510"/>
                  </a:lnTo>
                  <a:lnTo>
                    <a:pt x="1291" y="508"/>
                  </a:lnTo>
                  <a:lnTo>
                    <a:pt x="1288" y="509"/>
                  </a:lnTo>
                  <a:lnTo>
                    <a:pt x="1287" y="509"/>
                  </a:lnTo>
                  <a:lnTo>
                    <a:pt x="1287" y="510"/>
                  </a:lnTo>
                  <a:lnTo>
                    <a:pt x="1285" y="510"/>
                  </a:lnTo>
                  <a:lnTo>
                    <a:pt x="1287" y="504"/>
                  </a:lnTo>
                  <a:lnTo>
                    <a:pt x="1288" y="502"/>
                  </a:lnTo>
                  <a:lnTo>
                    <a:pt x="1287" y="502"/>
                  </a:lnTo>
                  <a:lnTo>
                    <a:pt x="1289" y="498"/>
                  </a:lnTo>
                  <a:lnTo>
                    <a:pt x="1290" y="496"/>
                  </a:lnTo>
                  <a:lnTo>
                    <a:pt x="1290" y="494"/>
                  </a:lnTo>
                  <a:lnTo>
                    <a:pt x="1290" y="493"/>
                  </a:lnTo>
                  <a:lnTo>
                    <a:pt x="1289" y="493"/>
                  </a:lnTo>
                  <a:lnTo>
                    <a:pt x="1278" y="494"/>
                  </a:lnTo>
                  <a:lnTo>
                    <a:pt x="1273" y="495"/>
                  </a:lnTo>
                  <a:lnTo>
                    <a:pt x="1272" y="495"/>
                  </a:lnTo>
                  <a:lnTo>
                    <a:pt x="1274" y="494"/>
                  </a:lnTo>
                  <a:lnTo>
                    <a:pt x="1272" y="490"/>
                  </a:lnTo>
                  <a:lnTo>
                    <a:pt x="1270" y="487"/>
                  </a:lnTo>
                  <a:lnTo>
                    <a:pt x="1272" y="487"/>
                  </a:lnTo>
                  <a:lnTo>
                    <a:pt x="1273" y="486"/>
                  </a:lnTo>
                  <a:lnTo>
                    <a:pt x="1274" y="485"/>
                  </a:lnTo>
                  <a:lnTo>
                    <a:pt x="1276" y="485"/>
                  </a:lnTo>
                  <a:lnTo>
                    <a:pt x="1280" y="491"/>
                  </a:lnTo>
                  <a:lnTo>
                    <a:pt x="1282" y="489"/>
                  </a:lnTo>
                  <a:lnTo>
                    <a:pt x="1285" y="489"/>
                  </a:lnTo>
                  <a:lnTo>
                    <a:pt x="1286" y="484"/>
                  </a:lnTo>
                  <a:lnTo>
                    <a:pt x="1287" y="482"/>
                  </a:lnTo>
                  <a:lnTo>
                    <a:pt x="1287" y="481"/>
                  </a:lnTo>
                  <a:lnTo>
                    <a:pt x="1290" y="481"/>
                  </a:lnTo>
                  <a:lnTo>
                    <a:pt x="1293" y="481"/>
                  </a:lnTo>
                  <a:lnTo>
                    <a:pt x="1293" y="479"/>
                  </a:lnTo>
                  <a:lnTo>
                    <a:pt x="1293" y="476"/>
                  </a:lnTo>
                  <a:lnTo>
                    <a:pt x="1293" y="474"/>
                  </a:lnTo>
                  <a:lnTo>
                    <a:pt x="1293" y="473"/>
                  </a:lnTo>
                  <a:lnTo>
                    <a:pt x="1293" y="471"/>
                  </a:lnTo>
                  <a:lnTo>
                    <a:pt x="1294" y="472"/>
                  </a:lnTo>
                  <a:lnTo>
                    <a:pt x="1295" y="471"/>
                  </a:lnTo>
                  <a:lnTo>
                    <a:pt x="1297" y="469"/>
                  </a:lnTo>
                  <a:lnTo>
                    <a:pt x="1293" y="467"/>
                  </a:lnTo>
                  <a:lnTo>
                    <a:pt x="1292" y="466"/>
                  </a:lnTo>
                  <a:lnTo>
                    <a:pt x="1291" y="465"/>
                  </a:lnTo>
                  <a:lnTo>
                    <a:pt x="1291" y="464"/>
                  </a:lnTo>
                  <a:lnTo>
                    <a:pt x="1291" y="462"/>
                  </a:lnTo>
                  <a:lnTo>
                    <a:pt x="1287" y="461"/>
                  </a:lnTo>
                  <a:lnTo>
                    <a:pt x="1284" y="460"/>
                  </a:lnTo>
                  <a:lnTo>
                    <a:pt x="1281" y="460"/>
                  </a:lnTo>
                  <a:lnTo>
                    <a:pt x="1278" y="460"/>
                  </a:lnTo>
                  <a:lnTo>
                    <a:pt x="1272" y="462"/>
                  </a:lnTo>
                  <a:lnTo>
                    <a:pt x="1266" y="464"/>
                  </a:lnTo>
                  <a:lnTo>
                    <a:pt x="1258" y="468"/>
                  </a:lnTo>
                  <a:lnTo>
                    <a:pt x="1252" y="471"/>
                  </a:lnTo>
                  <a:lnTo>
                    <a:pt x="1246" y="475"/>
                  </a:lnTo>
                  <a:lnTo>
                    <a:pt x="1240" y="479"/>
                  </a:lnTo>
                  <a:lnTo>
                    <a:pt x="1235" y="484"/>
                  </a:lnTo>
                  <a:lnTo>
                    <a:pt x="1230" y="489"/>
                  </a:lnTo>
                  <a:lnTo>
                    <a:pt x="1225" y="495"/>
                  </a:lnTo>
                  <a:lnTo>
                    <a:pt x="1216" y="506"/>
                  </a:lnTo>
                  <a:lnTo>
                    <a:pt x="1222" y="496"/>
                  </a:lnTo>
                  <a:lnTo>
                    <a:pt x="1226" y="487"/>
                  </a:lnTo>
                  <a:lnTo>
                    <a:pt x="1223" y="487"/>
                  </a:lnTo>
                  <a:lnTo>
                    <a:pt x="1222" y="487"/>
                  </a:lnTo>
                  <a:lnTo>
                    <a:pt x="1222" y="486"/>
                  </a:lnTo>
                  <a:lnTo>
                    <a:pt x="1222" y="485"/>
                  </a:lnTo>
                  <a:lnTo>
                    <a:pt x="1223" y="484"/>
                  </a:lnTo>
                  <a:lnTo>
                    <a:pt x="1225" y="484"/>
                  </a:lnTo>
                  <a:lnTo>
                    <a:pt x="1226" y="483"/>
                  </a:lnTo>
                  <a:lnTo>
                    <a:pt x="1228" y="483"/>
                  </a:lnTo>
                  <a:lnTo>
                    <a:pt x="1230" y="480"/>
                  </a:lnTo>
                  <a:lnTo>
                    <a:pt x="1232" y="477"/>
                  </a:lnTo>
                  <a:lnTo>
                    <a:pt x="1233" y="474"/>
                  </a:lnTo>
                  <a:lnTo>
                    <a:pt x="1235" y="471"/>
                  </a:lnTo>
                  <a:lnTo>
                    <a:pt x="1237" y="471"/>
                  </a:lnTo>
                  <a:lnTo>
                    <a:pt x="1238" y="471"/>
                  </a:lnTo>
                  <a:lnTo>
                    <a:pt x="1240" y="472"/>
                  </a:lnTo>
                  <a:lnTo>
                    <a:pt x="1241" y="471"/>
                  </a:lnTo>
                  <a:lnTo>
                    <a:pt x="1241" y="470"/>
                  </a:lnTo>
                  <a:lnTo>
                    <a:pt x="1241" y="469"/>
                  </a:lnTo>
                  <a:lnTo>
                    <a:pt x="1241" y="467"/>
                  </a:lnTo>
                  <a:lnTo>
                    <a:pt x="1241" y="466"/>
                  </a:lnTo>
                  <a:lnTo>
                    <a:pt x="1243" y="465"/>
                  </a:lnTo>
                  <a:lnTo>
                    <a:pt x="1244" y="466"/>
                  </a:lnTo>
                  <a:lnTo>
                    <a:pt x="1245" y="466"/>
                  </a:lnTo>
                  <a:lnTo>
                    <a:pt x="1247" y="466"/>
                  </a:lnTo>
                  <a:lnTo>
                    <a:pt x="1257" y="454"/>
                  </a:lnTo>
                  <a:lnTo>
                    <a:pt x="1258" y="452"/>
                  </a:lnTo>
                  <a:lnTo>
                    <a:pt x="1260" y="450"/>
                  </a:lnTo>
                  <a:lnTo>
                    <a:pt x="1263" y="447"/>
                  </a:lnTo>
                  <a:lnTo>
                    <a:pt x="1265" y="445"/>
                  </a:lnTo>
                  <a:lnTo>
                    <a:pt x="1266" y="445"/>
                  </a:lnTo>
                  <a:lnTo>
                    <a:pt x="1269" y="444"/>
                  </a:lnTo>
                  <a:lnTo>
                    <a:pt x="1272" y="443"/>
                  </a:lnTo>
                  <a:lnTo>
                    <a:pt x="1278" y="443"/>
                  </a:lnTo>
                  <a:lnTo>
                    <a:pt x="1290" y="444"/>
                  </a:lnTo>
                  <a:lnTo>
                    <a:pt x="1300" y="445"/>
                  </a:lnTo>
                  <a:lnTo>
                    <a:pt x="1305" y="445"/>
                  </a:lnTo>
                  <a:lnTo>
                    <a:pt x="1308" y="445"/>
                  </a:lnTo>
                  <a:lnTo>
                    <a:pt x="1310" y="443"/>
                  </a:lnTo>
                  <a:lnTo>
                    <a:pt x="1311" y="442"/>
                  </a:lnTo>
                  <a:lnTo>
                    <a:pt x="1313" y="441"/>
                  </a:lnTo>
                  <a:lnTo>
                    <a:pt x="1316" y="441"/>
                  </a:lnTo>
                  <a:lnTo>
                    <a:pt x="1317" y="441"/>
                  </a:lnTo>
                  <a:lnTo>
                    <a:pt x="1317" y="442"/>
                  </a:lnTo>
                  <a:lnTo>
                    <a:pt x="1318" y="443"/>
                  </a:lnTo>
                  <a:lnTo>
                    <a:pt x="1319" y="445"/>
                  </a:lnTo>
                  <a:lnTo>
                    <a:pt x="1322" y="445"/>
                  </a:lnTo>
                  <a:lnTo>
                    <a:pt x="1322" y="444"/>
                  </a:lnTo>
                  <a:lnTo>
                    <a:pt x="1323" y="442"/>
                  </a:lnTo>
                  <a:lnTo>
                    <a:pt x="1324" y="441"/>
                  </a:lnTo>
                  <a:lnTo>
                    <a:pt x="1325" y="441"/>
                  </a:lnTo>
                  <a:lnTo>
                    <a:pt x="1326" y="441"/>
                  </a:lnTo>
                  <a:lnTo>
                    <a:pt x="1328" y="443"/>
                  </a:lnTo>
                  <a:lnTo>
                    <a:pt x="1329" y="446"/>
                  </a:lnTo>
                  <a:lnTo>
                    <a:pt x="1335" y="446"/>
                  </a:lnTo>
                  <a:lnTo>
                    <a:pt x="1335" y="443"/>
                  </a:lnTo>
                  <a:lnTo>
                    <a:pt x="1338" y="443"/>
                  </a:lnTo>
                  <a:lnTo>
                    <a:pt x="1340" y="444"/>
                  </a:lnTo>
                  <a:lnTo>
                    <a:pt x="1342" y="445"/>
                  </a:lnTo>
                  <a:lnTo>
                    <a:pt x="1343" y="445"/>
                  </a:lnTo>
                  <a:lnTo>
                    <a:pt x="1345" y="445"/>
                  </a:lnTo>
                  <a:lnTo>
                    <a:pt x="1345" y="441"/>
                  </a:lnTo>
                  <a:lnTo>
                    <a:pt x="1347" y="439"/>
                  </a:lnTo>
                  <a:lnTo>
                    <a:pt x="1349" y="441"/>
                  </a:lnTo>
                  <a:lnTo>
                    <a:pt x="1351" y="441"/>
                  </a:lnTo>
                  <a:lnTo>
                    <a:pt x="1353" y="441"/>
                  </a:lnTo>
                  <a:lnTo>
                    <a:pt x="1353" y="439"/>
                  </a:lnTo>
                  <a:lnTo>
                    <a:pt x="1354" y="437"/>
                  </a:lnTo>
                  <a:lnTo>
                    <a:pt x="1354" y="435"/>
                  </a:lnTo>
                  <a:lnTo>
                    <a:pt x="1354" y="434"/>
                  </a:lnTo>
                  <a:lnTo>
                    <a:pt x="1357" y="433"/>
                  </a:lnTo>
                  <a:lnTo>
                    <a:pt x="1359" y="432"/>
                  </a:lnTo>
                  <a:lnTo>
                    <a:pt x="1362" y="431"/>
                  </a:lnTo>
                  <a:lnTo>
                    <a:pt x="1363" y="431"/>
                  </a:lnTo>
                  <a:lnTo>
                    <a:pt x="1364" y="430"/>
                  </a:lnTo>
                  <a:lnTo>
                    <a:pt x="1364" y="428"/>
                  </a:lnTo>
                  <a:lnTo>
                    <a:pt x="1364" y="425"/>
                  </a:lnTo>
                  <a:lnTo>
                    <a:pt x="1364" y="421"/>
                  </a:lnTo>
                  <a:lnTo>
                    <a:pt x="1365" y="420"/>
                  </a:lnTo>
                  <a:lnTo>
                    <a:pt x="1366" y="419"/>
                  </a:lnTo>
                  <a:lnTo>
                    <a:pt x="1369" y="417"/>
                  </a:lnTo>
                  <a:lnTo>
                    <a:pt x="1374" y="416"/>
                  </a:lnTo>
                  <a:lnTo>
                    <a:pt x="1383" y="413"/>
                  </a:lnTo>
                  <a:lnTo>
                    <a:pt x="1382" y="414"/>
                  </a:lnTo>
                  <a:lnTo>
                    <a:pt x="1384" y="414"/>
                  </a:lnTo>
                  <a:lnTo>
                    <a:pt x="1387" y="415"/>
                  </a:lnTo>
                  <a:lnTo>
                    <a:pt x="1395" y="408"/>
                  </a:lnTo>
                  <a:lnTo>
                    <a:pt x="1400" y="404"/>
                  </a:lnTo>
                  <a:lnTo>
                    <a:pt x="1402" y="401"/>
                  </a:lnTo>
                  <a:lnTo>
                    <a:pt x="1401" y="382"/>
                  </a:lnTo>
                  <a:lnTo>
                    <a:pt x="1400" y="382"/>
                  </a:lnTo>
                  <a:lnTo>
                    <a:pt x="1398" y="383"/>
                  </a:lnTo>
                  <a:lnTo>
                    <a:pt x="1397" y="384"/>
                  </a:lnTo>
                  <a:lnTo>
                    <a:pt x="1395" y="384"/>
                  </a:lnTo>
                  <a:lnTo>
                    <a:pt x="1393" y="383"/>
                  </a:lnTo>
                  <a:lnTo>
                    <a:pt x="1391" y="381"/>
                  </a:lnTo>
                  <a:lnTo>
                    <a:pt x="1387" y="378"/>
                  </a:lnTo>
                  <a:lnTo>
                    <a:pt x="1385" y="376"/>
                  </a:lnTo>
                  <a:lnTo>
                    <a:pt x="1383" y="375"/>
                  </a:lnTo>
                  <a:lnTo>
                    <a:pt x="1379" y="374"/>
                  </a:lnTo>
                  <a:lnTo>
                    <a:pt x="1374" y="374"/>
                  </a:lnTo>
                  <a:lnTo>
                    <a:pt x="1374" y="375"/>
                  </a:lnTo>
                  <a:lnTo>
                    <a:pt x="1374" y="376"/>
                  </a:lnTo>
                  <a:lnTo>
                    <a:pt x="1376" y="378"/>
                  </a:lnTo>
                  <a:lnTo>
                    <a:pt x="1370" y="379"/>
                  </a:lnTo>
                  <a:lnTo>
                    <a:pt x="1366" y="380"/>
                  </a:lnTo>
                  <a:lnTo>
                    <a:pt x="1358" y="384"/>
                  </a:lnTo>
                  <a:lnTo>
                    <a:pt x="1349" y="388"/>
                  </a:lnTo>
                  <a:lnTo>
                    <a:pt x="1349" y="392"/>
                  </a:lnTo>
                  <a:lnTo>
                    <a:pt x="1346" y="392"/>
                  </a:lnTo>
                  <a:lnTo>
                    <a:pt x="1345" y="391"/>
                  </a:lnTo>
                  <a:lnTo>
                    <a:pt x="1344" y="391"/>
                  </a:lnTo>
                  <a:lnTo>
                    <a:pt x="1344" y="389"/>
                  </a:lnTo>
                  <a:lnTo>
                    <a:pt x="1344" y="387"/>
                  </a:lnTo>
                  <a:lnTo>
                    <a:pt x="1344" y="385"/>
                  </a:lnTo>
                  <a:lnTo>
                    <a:pt x="1343" y="384"/>
                  </a:lnTo>
                  <a:lnTo>
                    <a:pt x="1346" y="384"/>
                  </a:lnTo>
                  <a:lnTo>
                    <a:pt x="1349" y="384"/>
                  </a:lnTo>
                  <a:lnTo>
                    <a:pt x="1352" y="384"/>
                  </a:lnTo>
                  <a:lnTo>
                    <a:pt x="1354" y="384"/>
                  </a:lnTo>
                  <a:lnTo>
                    <a:pt x="1357" y="382"/>
                  </a:lnTo>
                  <a:lnTo>
                    <a:pt x="1360" y="379"/>
                  </a:lnTo>
                  <a:lnTo>
                    <a:pt x="1363" y="376"/>
                  </a:lnTo>
                  <a:lnTo>
                    <a:pt x="1366" y="374"/>
                  </a:lnTo>
                  <a:lnTo>
                    <a:pt x="1369" y="374"/>
                  </a:lnTo>
                  <a:lnTo>
                    <a:pt x="1372" y="374"/>
                  </a:lnTo>
                  <a:lnTo>
                    <a:pt x="1375" y="373"/>
                  </a:lnTo>
                  <a:lnTo>
                    <a:pt x="1377" y="372"/>
                  </a:lnTo>
                  <a:lnTo>
                    <a:pt x="1379" y="371"/>
                  </a:lnTo>
                  <a:lnTo>
                    <a:pt x="1380" y="369"/>
                  </a:lnTo>
                  <a:lnTo>
                    <a:pt x="1382" y="366"/>
                  </a:lnTo>
                  <a:lnTo>
                    <a:pt x="1383" y="365"/>
                  </a:lnTo>
                  <a:lnTo>
                    <a:pt x="1382" y="365"/>
                  </a:lnTo>
                  <a:lnTo>
                    <a:pt x="1381" y="365"/>
                  </a:lnTo>
                  <a:lnTo>
                    <a:pt x="1377" y="367"/>
                  </a:lnTo>
                  <a:lnTo>
                    <a:pt x="1376" y="363"/>
                  </a:lnTo>
                  <a:lnTo>
                    <a:pt x="1377" y="362"/>
                  </a:lnTo>
                  <a:lnTo>
                    <a:pt x="1377" y="361"/>
                  </a:lnTo>
                  <a:lnTo>
                    <a:pt x="1375" y="360"/>
                  </a:lnTo>
                  <a:lnTo>
                    <a:pt x="1374" y="359"/>
                  </a:lnTo>
                  <a:lnTo>
                    <a:pt x="1374" y="360"/>
                  </a:lnTo>
                  <a:lnTo>
                    <a:pt x="1373" y="361"/>
                  </a:lnTo>
                  <a:lnTo>
                    <a:pt x="1372" y="363"/>
                  </a:lnTo>
                  <a:lnTo>
                    <a:pt x="1371" y="363"/>
                  </a:lnTo>
                  <a:lnTo>
                    <a:pt x="1370" y="363"/>
                  </a:lnTo>
                  <a:lnTo>
                    <a:pt x="1366" y="361"/>
                  </a:lnTo>
                  <a:lnTo>
                    <a:pt x="1366" y="360"/>
                  </a:lnTo>
                  <a:lnTo>
                    <a:pt x="1365" y="359"/>
                  </a:lnTo>
                  <a:lnTo>
                    <a:pt x="1365" y="357"/>
                  </a:lnTo>
                  <a:lnTo>
                    <a:pt x="1365" y="355"/>
                  </a:lnTo>
                  <a:lnTo>
                    <a:pt x="1364" y="353"/>
                  </a:lnTo>
                  <a:lnTo>
                    <a:pt x="1358" y="355"/>
                  </a:lnTo>
                  <a:lnTo>
                    <a:pt x="1355" y="355"/>
                  </a:lnTo>
                  <a:lnTo>
                    <a:pt x="1351" y="355"/>
                  </a:lnTo>
                  <a:lnTo>
                    <a:pt x="1343" y="353"/>
                  </a:lnTo>
                  <a:lnTo>
                    <a:pt x="1343" y="351"/>
                  </a:lnTo>
                  <a:lnTo>
                    <a:pt x="1344" y="349"/>
                  </a:lnTo>
                  <a:lnTo>
                    <a:pt x="1344" y="348"/>
                  </a:lnTo>
                  <a:lnTo>
                    <a:pt x="1344" y="347"/>
                  </a:lnTo>
                  <a:lnTo>
                    <a:pt x="1344" y="345"/>
                  </a:lnTo>
                  <a:lnTo>
                    <a:pt x="1343" y="344"/>
                  </a:lnTo>
                  <a:lnTo>
                    <a:pt x="1341" y="344"/>
                  </a:lnTo>
                  <a:lnTo>
                    <a:pt x="1340" y="343"/>
                  </a:lnTo>
                  <a:lnTo>
                    <a:pt x="1338" y="341"/>
                  </a:lnTo>
                  <a:lnTo>
                    <a:pt x="1337" y="339"/>
                  </a:lnTo>
                  <a:lnTo>
                    <a:pt x="1335" y="338"/>
                  </a:lnTo>
                  <a:lnTo>
                    <a:pt x="1332" y="338"/>
                  </a:lnTo>
                  <a:lnTo>
                    <a:pt x="1329" y="338"/>
                  </a:lnTo>
                  <a:lnTo>
                    <a:pt x="1326" y="328"/>
                  </a:lnTo>
                  <a:lnTo>
                    <a:pt x="1324" y="330"/>
                  </a:lnTo>
                  <a:lnTo>
                    <a:pt x="1323" y="330"/>
                  </a:lnTo>
                  <a:lnTo>
                    <a:pt x="1322" y="330"/>
                  </a:lnTo>
                  <a:lnTo>
                    <a:pt x="1324" y="323"/>
                  </a:lnTo>
                  <a:lnTo>
                    <a:pt x="1322" y="323"/>
                  </a:lnTo>
                  <a:lnTo>
                    <a:pt x="1321" y="322"/>
                  </a:lnTo>
                  <a:lnTo>
                    <a:pt x="1320" y="321"/>
                  </a:lnTo>
                  <a:lnTo>
                    <a:pt x="1328" y="321"/>
                  </a:lnTo>
                  <a:lnTo>
                    <a:pt x="1333" y="321"/>
                  </a:lnTo>
                  <a:lnTo>
                    <a:pt x="1333" y="315"/>
                  </a:lnTo>
                  <a:lnTo>
                    <a:pt x="1329" y="313"/>
                  </a:lnTo>
                  <a:lnTo>
                    <a:pt x="1324" y="311"/>
                  </a:lnTo>
                  <a:lnTo>
                    <a:pt x="1324" y="307"/>
                  </a:lnTo>
                  <a:lnTo>
                    <a:pt x="1324" y="304"/>
                  </a:lnTo>
                  <a:lnTo>
                    <a:pt x="1324" y="301"/>
                  </a:lnTo>
                  <a:lnTo>
                    <a:pt x="1322" y="301"/>
                  </a:lnTo>
                  <a:lnTo>
                    <a:pt x="1321" y="301"/>
                  </a:lnTo>
                  <a:lnTo>
                    <a:pt x="1319" y="300"/>
                  </a:lnTo>
                  <a:lnTo>
                    <a:pt x="1318" y="299"/>
                  </a:lnTo>
                  <a:lnTo>
                    <a:pt x="1317" y="298"/>
                  </a:lnTo>
                  <a:lnTo>
                    <a:pt x="1314" y="294"/>
                  </a:lnTo>
                  <a:lnTo>
                    <a:pt x="1315" y="290"/>
                  </a:lnTo>
                  <a:lnTo>
                    <a:pt x="1316" y="288"/>
                  </a:lnTo>
                  <a:lnTo>
                    <a:pt x="1309" y="288"/>
                  </a:lnTo>
                  <a:lnTo>
                    <a:pt x="1303" y="288"/>
                  </a:lnTo>
                  <a:lnTo>
                    <a:pt x="1312" y="282"/>
                  </a:lnTo>
                  <a:lnTo>
                    <a:pt x="1306" y="271"/>
                  </a:lnTo>
                  <a:lnTo>
                    <a:pt x="1303" y="271"/>
                  </a:lnTo>
                  <a:lnTo>
                    <a:pt x="1299" y="271"/>
                  </a:lnTo>
                  <a:lnTo>
                    <a:pt x="1298" y="270"/>
                  </a:lnTo>
                  <a:lnTo>
                    <a:pt x="1298" y="269"/>
                  </a:lnTo>
                  <a:lnTo>
                    <a:pt x="1298" y="268"/>
                  </a:lnTo>
                  <a:lnTo>
                    <a:pt x="1298" y="267"/>
                  </a:lnTo>
                  <a:lnTo>
                    <a:pt x="1297" y="267"/>
                  </a:lnTo>
                  <a:lnTo>
                    <a:pt x="1297" y="261"/>
                  </a:lnTo>
                  <a:lnTo>
                    <a:pt x="1296" y="257"/>
                  </a:lnTo>
                  <a:lnTo>
                    <a:pt x="1297" y="252"/>
                  </a:lnTo>
                  <a:lnTo>
                    <a:pt x="1293" y="250"/>
                  </a:lnTo>
                  <a:lnTo>
                    <a:pt x="1293" y="247"/>
                  </a:lnTo>
                  <a:lnTo>
                    <a:pt x="1294" y="245"/>
                  </a:lnTo>
                  <a:lnTo>
                    <a:pt x="1295" y="243"/>
                  </a:lnTo>
                  <a:lnTo>
                    <a:pt x="1295" y="242"/>
                  </a:lnTo>
                  <a:lnTo>
                    <a:pt x="1289" y="242"/>
                  </a:lnTo>
                  <a:lnTo>
                    <a:pt x="1283" y="255"/>
                  </a:lnTo>
                  <a:lnTo>
                    <a:pt x="1281" y="260"/>
                  </a:lnTo>
                  <a:lnTo>
                    <a:pt x="1280" y="267"/>
                  </a:lnTo>
                  <a:lnTo>
                    <a:pt x="1278" y="266"/>
                  </a:lnTo>
                  <a:lnTo>
                    <a:pt x="1277" y="265"/>
                  </a:lnTo>
                  <a:lnTo>
                    <a:pt x="1278" y="263"/>
                  </a:lnTo>
                  <a:lnTo>
                    <a:pt x="1278" y="261"/>
                  </a:lnTo>
                  <a:lnTo>
                    <a:pt x="1277" y="262"/>
                  </a:lnTo>
                  <a:lnTo>
                    <a:pt x="1275" y="263"/>
                  </a:lnTo>
                  <a:lnTo>
                    <a:pt x="1273" y="264"/>
                  </a:lnTo>
                  <a:lnTo>
                    <a:pt x="1272" y="265"/>
                  </a:lnTo>
                  <a:lnTo>
                    <a:pt x="1272" y="266"/>
                  </a:lnTo>
                  <a:lnTo>
                    <a:pt x="1272" y="268"/>
                  </a:lnTo>
                  <a:lnTo>
                    <a:pt x="1272" y="270"/>
                  </a:lnTo>
                  <a:lnTo>
                    <a:pt x="1272" y="271"/>
                  </a:lnTo>
                  <a:lnTo>
                    <a:pt x="1270" y="269"/>
                  </a:lnTo>
                  <a:lnTo>
                    <a:pt x="1269" y="269"/>
                  </a:lnTo>
                  <a:lnTo>
                    <a:pt x="1268" y="269"/>
                  </a:lnTo>
                  <a:lnTo>
                    <a:pt x="1267" y="271"/>
                  </a:lnTo>
                  <a:lnTo>
                    <a:pt x="1267" y="272"/>
                  </a:lnTo>
                  <a:lnTo>
                    <a:pt x="1267" y="274"/>
                  </a:lnTo>
                  <a:lnTo>
                    <a:pt x="1266" y="276"/>
                  </a:lnTo>
                  <a:lnTo>
                    <a:pt x="1264" y="278"/>
                  </a:lnTo>
                  <a:lnTo>
                    <a:pt x="1261" y="280"/>
                  </a:lnTo>
                  <a:lnTo>
                    <a:pt x="1257" y="282"/>
                  </a:lnTo>
                  <a:lnTo>
                    <a:pt x="1253" y="278"/>
                  </a:lnTo>
                  <a:lnTo>
                    <a:pt x="1249" y="275"/>
                  </a:lnTo>
                  <a:lnTo>
                    <a:pt x="1247" y="277"/>
                  </a:lnTo>
                  <a:lnTo>
                    <a:pt x="1245" y="279"/>
                  </a:lnTo>
                  <a:lnTo>
                    <a:pt x="1244" y="279"/>
                  </a:lnTo>
                  <a:lnTo>
                    <a:pt x="1243" y="278"/>
                  </a:lnTo>
                  <a:lnTo>
                    <a:pt x="1242" y="274"/>
                  </a:lnTo>
                  <a:lnTo>
                    <a:pt x="1241" y="269"/>
                  </a:lnTo>
                  <a:lnTo>
                    <a:pt x="1232" y="268"/>
                  </a:lnTo>
                  <a:lnTo>
                    <a:pt x="1229" y="267"/>
                  </a:lnTo>
                  <a:lnTo>
                    <a:pt x="1224" y="265"/>
                  </a:lnTo>
                  <a:lnTo>
                    <a:pt x="1224" y="254"/>
                  </a:lnTo>
                  <a:lnTo>
                    <a:pt x="1224" y="250"/>
                  </a:lnTo>
                  <a:lnTo>
                    <a:pt x="1222" y="244"/>
                  </a:lnTo>
                  <a:lnTo>
                    <a:pt x="1225" y="243"/>
                  </a:lnTo>
                  <a:lnTo>
                    <a:pt x="1227" y="243"/>
                  </a:lnTo>
                  <a:lnTo>
                    <a:pt x="1227" y="242"/>
                  </a:lnTo>
                  <a:lnTo>
                    <a:pt x="1228" y="242"/>
                  </a:lnTo>
                  <a:lnTo>
                    <a:pt x="1228" y="240"/>
                  </a:lnTo>
                  <a:lnTo>
                    <a:pt x="1227" y="240"/>
                  </a:lnTo>
                  <a:lnTo>
                    <a:pt x="1225" y="240"/>
                  </a:lnTo>
                  <a:lnTo>
                    <a:pt x="1224" y="240"/>
                  </a:lnTo>
                  <a:lnTo>
                    <a:pt x="1228" y="233"/>
                  </a:lnTo>
                  <a:lnTo>
                    <a:pt x="1232" y="227"/>
                  </a:lnTo>
                  <a:lnTo>
                    <a:pt x="1229" y="227"/>
                  </a:lnTo>
                  <a:lnTo>
                    <a:pt x="1228" y="229"/>
                  </a:lnTo>
                  <a:lnTo>
                    <a:pt x="1227" y="230"/>
                  </a:lnTo>
                  <a:lnTo>
                    <a:pt x="1226" y="230"/>
                  </a:lnTo>
                  <a:lnTo>
                    <a:pt x="1222" y="229"/>
                  </a:lnTo>
                  <a:lnTo>
                    <a:pt x="1219" y="229"/>
                  </a:lnTo>
                  <a:lnTo>
                    <a:pt x="1216" y="228"/>
                  </a:lnTo>
                  <a:lnTo>
                    <a:pt x="1216" y="227"/>
                  </a:lnTo>
                  <a:lnTo>
                    <a:pt x="1216" y="225"/>
                  </a:lnTo>
                  <a:lnTo>
                    <a:pt x="1216" y="224"/>
                  </a:lnTo>
                  <a:lnTo>
                    <a:pt x="1217" y="224"/>
                  </a:lnTo>
                  <a:lnTo>
                    <a:pt x="1218" y="225"/>
                  </a:lnTo>
                  <a:lnTo>
                    <a:pt x="1220" y="221"/>
                  </a:lnTo>
                  <a:lnTo>
                    <a:pt x="1218" y="220"/>
                  </a:lnTo>
                  <a:lnTo>
                    <a:pt x="1216" y="220"/>
                  </a:lnTo>
                  <a:lnTo>
                    <a:pt x="1210" y="221"/>
                  </a:lnTo>
                  <a:lnTo>
                    <a:pt x="1205" y="221"/>
                  </a:lnTo>
                  <a:lnTo>
                    <a:pt x="1203" y="221"/>
                  </a:lnTo>
                  <a:lnTo>
                    <a:pt x="1201" y="221"/>
                  </a:lnTo>
                  <a:lnTo>
                    <a:pt x="1201" y="218"/>
                  </a:lnTo>
                  <a:lnTo>
                    <a:pt x="1201" y="215"/>
                  </a:lnTo>
                  <a:lnTo>
                    <a:pt x="1197" y="215"/>
                  </a:lnTo>
                  <a:lnTo>
                    <a:pt x="1197" y="211"/>
                  </a:lnTo>
                  <a:lnTo>
                    <a:pt x="1196" y="209"/>
                  </a:lnTo>
                  <a:lnTo>
                    <a:pt x="1194" y="207"/>
                  </a:lnTo>
                  <a:lnTo>
                    <a:pt x="1189" y="203"/>
                  </a:lnTo>
                  <a:lnTo>
                    <a:pt x="1183" y="199"/>
                  </a:lnTo>
                  <a:lnTo>
                    <a:pt x="1178" y="196"/>
                  </a:lnTo>
                  <a:lnTo>
                    <a:pt x="1174" y="197"/>
                  </a:lnTo>
                  <a:lnTo>
                    <a:pt x="1172" y="197"/>
                  </a:lnTo>
                  <a:lnTo>
                    <a:pt x="1170" y="198"/>
                  </a:lnTo>
                  <a:lnTo>
                    <a:pt x="1168" y="201"/>
                  </a:lnTo>
                  <a:lnTo>
                    <a:pt x="1167" y="203"/>
                  </a:lnTo>
                  <a:lnTo>
                    <a:pt x="1166" y="204"/>
                  </a:lnTo>
                  <a:lnTo>
                    <a:pt x="1164" y="204"/>
                  </a:lnTo>
                  <a:lnTo>
                    <a:pt x="1161" y="203"/>
                  </a:lnTo>
                  <a:lnTo>
                    <a:pt x="1159" y="203"/>
                  </a:lnTo>
                  <a:lnTo>
                    <a:pt x="1157" y="204"/>
                  </a:lnTo>
                  <a:lnTo>
                    <a:pt x="1157" y="207"/>
                  </a:lnTo>
                  <a:lnTo>
                    <a:pt x="1152" y="207"/>
                  </a:lnTo>
                  <a:lnTo>
                    <a:pt x="1146" y="206"/>
                  </a:lnTo>
                  <a:lnTo>
                    <a:pt x="1136" y="204"/>
                  </a:lnTo>
                  <a:lnTo>
                    <a:pt x="1131" y="203"/>
                  </a:lnTo>
                  <a:lnTo>
                    <a:pt x="1128" y="204"/>
                  </a:lnTo>
                  <a:lnTo>
                    <a:pt x="1125" y="205"/>
                  </a:lnTo>
                  <a:lnTo>
                    <a:pt x="1122" y="205"/>
                  </a:lnTo>
                  <a:lnTo>
                    <a:pt x="1120" y="211"/>
                  </a:lnTo>
                  <a:lnTo>
                    <a:pt x="1124" y="212"/>
                  </a:lnTo>
                  <a:lnTo>
                    <a:pt x="1128" y="213"/>
                  </a:lnTo>
                  <a:lnTo>
                    <a:pt x="1128" y="217"/>
                  </a:lnTo>
                  <a:lnTo>
                    <a:pt x="1124" y="217"/>
                  </a:lnTo>
                  <a:lnTo>
                    <a:pt x="1124" y="218"/>
                  </a:lnTo>
                  <a:lnTo>
                    <a:pt x="1125" y="219"/>
                  </a:lnTo>
                  <a:lnTo>
                    <a:pt x="1126" y="220"/>
                  </a:lnTo>
                  <a:lnTo>
                    <a:pt x="1126" y="223"/>
                  </a:lnTo>
                  <a:lnTo>
                    <a:pt x="1125" y="224"/>
                  </a:lnTo>
                  <a:lnTo>
                    <a:pt x="1123" y="226"/>
                  </a:lnTo>
                  <a:lnTo>
                    <a:pt x="1122" y="228"/>
                  </a:lnTo>
                  <a:lnTo>
                    <a:pt x="1120" y="230"/>
                  </a:lnTo>
                  <a:lnTo>
                    <a:pt x="1119" y="230"/>
                  </a:lnTo>
                  <a:lnTo>
                    <a:pt x="1119" y="231"/>
                  </a:lnTo>
                  <a:lnTo>
                    <a:pt x="1120" y="234"/>
                  </a:lnTo>
                  <a:lnTo>
                    <a:pt x="1123" y="234"/>
                  </a:lnTo>
                  <a:lnTo>
                    <a:pt x="1126" y="234"/>
                  </a:lnTo>
                  <a:lnTo>
                    <a:pt x="1126" y="239"/>
                  </a:lnTo>
                  <a:lnTo>
                    <a:pt x="1125" y="243"/>
                  </a:lnTo>
                  <a:lnTo>
                    <a:pt x="1125" y="244"/>
                  </a:lnTo>
                  <a:lnTo>
                    <a:pt x="1125" y="246"/>
                  </a:lnTo>
                  <a:lnTo>
                    <a:pt x="1130" y="250"/>
                  </a:lnTo>
                  <a:lnTo>
                    <a:pt x="1130" y="251"/>
                  </a:lnTo>
                  <a:lnTo>
                    <a:pt x="1130" y="253"/>
                  </a:lnTo>
                  <a:lnTo>
                    <a:pt x="1129" y="254"/>
                  </a:lnTo>
                  <a:lnTo>
                    <a:pt x="1128" y="254"/>
                  </a:lnTo>
                  <a:lnTo>
                    <a:pt x="1128" y="253"/>
                  </a:lnTo>
                  <a:lnTo>
                    <a:pt x="1126" y="257"/>
                  </a:lnTo>
                  <a:lnTo>
                    <a:pt x="1123" y="256"/>
                  </a:lnTo>
                  <a:lnTo>
                    <a:pt x="1121" y="255"/>
                  </a:lnTo>
                  <a:lnTo>
                    <a:pt x="1120" y="255"/>
                  </a:lnTo>
                  <a:lnTo>
                    <a:pt x="1122" y="259"/>
                  </a:lnTo>
                  <a:lnTo>
                    <a:pt x="1123" y="259"/>
                  </a:lnTo>
                  <a:lnTo>
                    <a:pt x="1124" y="259"/>
                  </a:lnTo>
                  <a:lnTo>
                    <a:pt x="1124" y="261"/>
                  </a:lnTo>
                  <a:lnTo>
                    <a:pt x="1124" y="265"/>
                  </a:lnTo>
                  <a:lnTo>
                    <a:pt x="1121" y="265"/>
                  </a:lnTo>
                  <a:lnTo>
                    <a:pt x="1118" y="266"/>
                  </a:lnTo>
                  <a:lnTo>
                    <a:pt x="1116" y="266"/>
                  </a:lnTo>
                  <a:lnTo>
                    <a:pt x="1113" y="267"/>
                  </a:lnTo>
                  <a:lnTo>
                    <a:pt x="1113" y="273"/>
                  </a:lnTo>
                  <a:lnTo>
                    <a:pt x="1113" y="278"/>
                  </a:lnTo>
                  <a:lnTo>
                    <a:pt x="1115" y="279"/>
                  </a:lnTo>
                  <a:lnTo>
                    <a:pt x="1118" y="280"/>
                  </a:lnTo>
                  <a:lnTo>
                    <a:pt x="1121" y="281"/>
                  </a:lnTo>
                  <a:lnTo>
                    <a:pt x="1123" y="281"/>
                  </a:lnTo>
                  <a:lnTo>
                    <a:pt x="1124" y="282"/>
                  </a:lnTo>
                  <a:lnTo>
                    <a:pt x="1126" y="284"/>
                  </a:lnTo>
                  <a:lnTo>
                    <a:pt x="1127" y="287"/>
                  </a:lnTo>
                  <a:lnTo>
                    <a:pt x="1128" y="289"/>
                  </a:lnTo>
                  <a:lnTo>
                    <a:pt x="1128" y="292"/>
                  </a:lnTo>
                  <a:lnTo>
                    <a:pt x="1130" y="298"/>
                  </a:lnTo>
                  <a:lnTo>
                    <a:pt x="1131" y="301"/>
                  </a:lnTo>
                  <a:lnTo>
                    <a:pt x="1132" y="303"/>
                  </a:lnTo>
                  <a:lnTo>
                    <a:pt x="1133" y="305"/>
                  </a:lnTo>
                  <a:lnTo>
                    <a:pt x="1136" y="306"/>
                  </a:lnTo>
                  <a:lnTo>
                    <a:pt x="1138" y="308"/>
                  </a:lnTo>
                  <a:lnTo>
                    <a:pt x="1139" y="308"/>
                  </a:lnTo>
                  <a:lnTo>
                    <a:pt x="1139" y="309"/>
                  </a:lnTo>
                  <a:lnTo>
                    <a:pt x="1139" y="312"/>
                  </a:lnTo>
                  <a:lnTo>
                    <a:pt x="1138" y="317"/>
                  </a:lnTo>
                  <a:lnTo>
                    <a:pt x="1136" y="328"/>
                  </a:lnTo>
                  <a:lnTo>
                    <a:pt x="1137" y="326"/>
                  </a:lnTo>
                  <a:lnTo>
                    <a:pt x="1138" y="325"/>
                  </a:lnTo>
                  <a:lnTo>
                    <a:pt x="1139" y="324"/>
                  </a:lnTo>
                  <a:lnTo>
                    <a:pt x="1140" y="326"/>
                  </a:lnTo>
                  <a:lnTo>
                    <a:pt x="1141" y="328"/>
                  </a:lnTo>
                  <a:lnTo>
                    <a:pt x="1141" y="332"/>
                  </a:lnTo>
                  <a:lnTo>
                    <a:pt x="1140" y="332"/>
                  </a:lnTo>
                  <a:lnTo>
                    <a:pt x="1139" y="332"/>
                  </a:lnTo>
                  <a:lnTo>
                    <a:pt x="1137" y="332"/>
                  </a:lnTo>
                  <a:lnTo>
                    <a:pt x="1136" y="332"/>
                  </a:lnTo>
                  <a:lnTo>
                    <a:pt x="1130" y="344"/>
                  </a:lnTo>
                  <a:lnTo>
                    <a:pt x="1127" y="346"/>
                  </a:lnTo>
                  <a:lnTo>
                    <a:pt x="1125" y="349"/>
                  </a:lnTo>
                  <a:lnTo>
                    <a:pt x="1119" y="354"/>
                  </a:lnTo>
                  <a:lnTo>
                    <a:pt x="1112" y="357"/>
                  </a:lnTo>
                  <a:lnTo>
                    <a:pt x="1105" y="361"/>
                  </a:lnTo>
                  <a:lnTo>
                    <a:pt x="1108" y="377"/>
                  </a:lnTo>
                  <a:lnTo>
                    <a:pt x="1111" y="392"/>
                  </a:lnTo>
                  <a:lnTo>
                    <a:pt x="1111" y="399"/>
                  </a:lnTo>
                  <a:lnTo>
                    <a:pt x="1112" y="406"/>
                  </a:lnTo>
                  <a:lnTo>
                    <a:pt x="1111" y="413"/>
                  </a:lnTo>
                  <a:lnTo>
                    <a:pt x="1110" y="417"/>
                  </a:lnTo>
                  <a:lnTo>
                    <a:pt x="1109" y="420"/>
                  </a:lnTo>
                  <a:lnTo>
                    <a:pt x="1106" y="420"/>
                  </a:lnTo>
                  <a:lnTo>
                    <a:pt x="1103" y="420"/>
                  </a:lnTo>
                  <a:lnTo>
                    <a:pt x="1101" y="422"/>
                  </a:lnTo>
                  <a:lnTo>
                    <a:pt x="1100" y="423"/>
                  </a:lnTo>
                  <a:lnTo>
                    <a:pt x="1099" y="426"/>
                  </a:lnTo>
                  <a:lnTo>
                    <a:pt x="1098" y="426"/>
                  </a:lnTo>
                  <a:lnTo>
                    <a:pt x="1096" y="426"/>
                  </a:lnTo>
                  <a:lnTo>
                    <a:pt x="1090" y="424"/>
                  </a:lnTo>
                  <a:lnTo>
                    <a:pt x="1087" y="422"/>
                  </a:lnTo>
                  <a:lnTo>
                    <a:pt x="1082" y="418"/>
                  </a:lnTo>
                  <a:lnTo>
                    <a:pt x="1076" y="411"/>
                  </a:lnTo>
                  <a:lnTo>
                    <a:pt x="1076" y="409"/>
                  </a:lnTo>
                  <a:lnTo>
                    <a:pt x="1077" y="407"/>
                  </a:lnTo>
                  <a:lnTo>
                    <a:pt x="1077" y="404"/>
                  </a:lnTo>
                  <a:lnTo>
                    <a:pt x="1077" y="403"/>
                  </a:lnTo>
                  <a:lnTo>
                    <a:pt x="1076" y="401"/>
                  </a:lnTo>
                  <a:lnTo>
                    <a:pt x="1075" y="400"/>
                  </a:lnTo>
                  <a:lnTo>
                    <a:pt x="1072" y="399"/>
                  </a:lnTo>
                  <a:lnTo>
                    <a:pt x="1068" y="397"/>
                  </a:lnTo>
                  <a:lnTo>
                    <a:pt x="1068" y="395"/>
                  </a:lnTo>
                  <a:lnTo>
                    <a:pt x="1068" y="393"/>
                  </a:lnTo>
                  <a:lnTo>
                    <a:pt x="1069" y="390"/>
                  </a:lnTo>
                  <a:lnTo>
                    <a:pt x="1069" y="389"/>
                  </a:lnTo>
                  <a:lnTo>
                    <a:pt x="1068" y="388"/>
                  </a:lnTo>
                  <a:lnTo>
                    <a:pt x="1067" y="388"/>
                  </a:lnTo>
                  <a:lnTo>
                    <a:pt x="1066" y="387"/>
                  </a:lnTo>
                  <a:lnTo>
                    <a:pt x="1066" y="386"/>
                  </a:lnTo>
                  <a:lnTo>
                    <a:pt x="1066" y="385"/>
                  </a:lnTo>
                  <a:lnTo>
                    <a:pt x="1068" y="382"/>
                  </a:lnTo>
                  <a:lnTo>
                    <a:pt x="1067" y="381"/>
                  </a:lnTo>
                  <a:lnTo>
                    <a:pt x="1066" y="379"/>
                  </a:lnTo>
                  <a:lnTo>
                    <a:pt x="1067" y="377"/>
                  </a:lnTo>
                  <a:lnTo>
                    <a:pt x="1068" y="376"/>
                  </a:lnTo>
                  <a:lnTo>
                    <a:pt x="1070" y="365"/>
                  </a:lnTo>
                  <a:lnTo>
                    <a:pt x="1068" y="362"/>
                  </a:lnTo>
                  <a:lnTo>
                    <a:pt x="1068" y="360"/>
                  </a:lnTo>
                  <a:lnTo>
                    <a:pt x="1068" y="359"/>
                  </a:lnTo>
                  <a:lnTo>
                    <a:pt x="1069" y="359"/>
                  </a:lnTo>
                  <a:lnTo>
                    <a:pt x="1070" y="359"/>
                  </a:lnTo>
                  <a:lnTo>
                    <a:pt x="1070" y="357"/>
                  </a:lnTo>
                  <a:lnTo>
                    <a:pt x="1069" y="355"/>
                  </a:lnTo>
                  <a:lnTo>
                    <a:pt x="1068" y="353"/>
                  </a:lnTo>
                  <a:lnTo>
                    <a:pt x="1065" y="351"/>
                  </a:lnTo>
                  <a:lnTo>
                    <a:pt x="1061" y="351"/>
                  </a:lnTo>
                  <a:lnTo>
                    <a:pt x="1053" y="351"/>
                  </a:lnTo>
                  <a:lnTo>
                    <a:pt x="1045" y="351"/>
                  </a:lnTo>
                  <a:lnTo>
                    <a:pt x="1038" y="351"/>
                  </a:lnTo>
                  <a:lnTo>
                    <a:pt x="1035" y="350"/>
                  </a:lnTo>
                  <a:lnTo>
                    <a:pt x="1031" y="347"/>
                  </a:lnTo>
                  <a:lnTo>
                    <a:pt x="1027" y="344"/>
                  </a:lnTo>
                  <a:lnTo>
                    <a:pt x="1024" y="342"/>
                  </a:lnTo>
                  <a:lnTo>
                    <a:pt x="1013" y="339"/>
                  </a:lnTo>
                  <a:lnTo>
                    <a:pt x="1006" y="337"/>
                  </a:lnTo>
                  <a:lnTo>
                    <a:pt x="1004" y="336"/>
                  </a:lnTo>
                  <a:lnTo>
                    <a:pt x="1003" y="336"/>
                  </a:lnTo>
                  <a:lnTo>
                    <a:pt x="1002" y="335"/>
                  </a:lnTo>
                  <a:lnTo>
                    <a:pt x="1002" y="333"/>
                  </a:lnTo>
                  <a:lnTo>
                    <a:pt x="1001" y="329"/>
                  </a:lnTo>
                  <a:lnTo>
                    <a:pt x="1001" y="325"/>
                  </a:lnTo>
                  <a:lnTo>
                    <a:pt x="1000" y="324"/>
                  </a:lnTo>
                  <a:lnTo>
                    <a:pt x="999" y="323"/>
                  </a:lnTo>
                  <a:lnTo>
                    <a:pt x="997" y="321"/>
                  </a:lnTo>
                  <a:lnTo>
                    <a:pt x="995" y="321"/>
                  </a:lnTo>
                  <a:lnTo>
                    <a:pt x="993" y="321"/>
                  </a:lnTo>
                  <a:lnTo>
                    <a:pt x="990" y="321"/>
                  </a:lnTo>
                  <a:lnTo>
                    <a:pt x="988" y="319"/>
                  </a:lnTo>
                  <a:lnTo>
                    <a:pt x="985" y="317"/>
                  </a:lnTo>
                  <a:lnTo>
                    <a:pt x="982" y="314"/>
                  </a:lnTo>
                  <a:lnTo>
                    <a:pt x="980" y="313"/>
                  </a:lnTo>
                  <a:lnTo>
                    <a:pt x="978" y="313"/>
                  </a:lnTo>
                  <a:lnTo>
                    <a:pt x="976" y="313"/>
                  </a:lnTo>
                  <a:lnTo>
                    <a:pt x="972" y="313"/>
                  </a:lnTo>
                  <a:lnTo>
                    <a:pt x="971" y="313"/>
                  </a:lnTo>
                  <a:lnTo>
                    <a:pt x="970" y="312"/>
                  </a:lnTo>
                  <a:lnTo>
                    <a:pt x="968" y="310"/>
                  </a:lnTo>
                  <a:lnTo>
                    <a:pt x="966" y="308"/>
                  </a:lnTo>
                  <a:lnTo>
                    <a:pt x="965" y="307"/>
                  </a:lnTo>
                  <a:lnTo>
                    <a:pt x="962" y="306"/>
                  </a:lnTo>
                  <a:lnTo>
                    <a:pt x="959" y="306"/>
                  </a:lnTo>
                  <a:lnTo>
                    <a:pt x="954" y="307"/>
                  </a:lnTo>
                  <a:lnTo>
                    <a:pt x="949" y="309"/>
                  </a:lnTo>
                  <a:lnTo>
                    <a:pt x="944" y="311"/>
                  </a:lnTo>
                  <a:lnTo>
                    <a:pt x="941" y="303"/>
                  </a:lnTo>
                  <a:lnTo>
                    <a:pt x="938" y="293"/>
                  </a:lnTo>
                  <a:lnTo>
                    <a:pt x="930" y="275"/>
                  </a:lnTo>
                  <a:lnTo>
                    <a:pt x="925" y="275"/>
                  </a:lnTo>
                  <a:lnTo>
                    <a:pt x="922" y="275"/>
                  </a:lnTo>
                  <a:lnTo>
                    <a:pt x="917" y="276"/>
                  </a:lnTo>
                  <a:lnTo>
                    <a:pt x="916" y="276"/>
                  </a:lnTo>
                  <a:lnTo>
                    <a:pt x="915" y="275"/>
                  </a:lnTo>
                  <a:lnTo>
                    <a:pt x="914" y="274"/>
                  </a:lnTo>
                  <a:lnTo>
                    <a:pt x="911" y="267"/>
                  </a:lnTo>
                  <a:lnTo>
                    <a:pt x="907" y="263"/>
                  </a:lnTo>
                  <a:lnTo>
                    <a:pt x="907" y="260"/>
                  </a:lnTo>
                  <a:lnTo>
                    <a:pt x="908" y="256"/>
                  </a:lnTo>
                  <a:lnTo>
                    <a:pt x="908" y="251"/>
                  </a:lnTo>
                  <a:lnTo>
                    <a:pt x="909" y="248"/>
                  </a:lnTo>
                  <a:lnTo>
                    <a:pt x="910" y="247"/>
                  </a:lnTo>
                  <a:lnTo>
                    <a:pt x="912" y="246"/>
                  </a:lnTo>
                  <a:lnTo>
                    <a:pt x="915" y="244"/>
                  </a:lnTo>
                  <a:lnTo>
                    <a:pt x="915" y="241"/>
                  </a:lnTo>
                  <a:lnTo>
                    <a:pt x="913" y="240"/>
                  </a:lnTo>
                  <a:lnTo>
                    <a:pt x="912" y="238"/>
                  </a:lnTo>
                  <a:lnTo>
                    <a:pt x="912" y="237"/>
                  </a:lnTo>
                  <a:lnTo>
                    <a:pt x="913" y="236"/>
                  </a:lnTo>
                  <a:lnTo>
                    <a:pt x="914" y="236"/>
                  </a:lnTo>
                  <a:lnTo>
                    <a:pt x="916" y="236"/>
                  </a:lnTo>
                  <a:lnTo>
                    <a:pt x="919" y="236"/>
                  </a:lnTo>
                  <a:lnTo>
                    <a:pt x="919" y="234"/>
                  </a:lnTo>
                  <a:lnTo>
                    <a:pt x="919" y="231"/>
                  </a:lnTo>
                  <a:lnTo>
                    <a:pt x="918" y="229"/>
                  </a:lnTo>
                  <a:lnTo>
                    <a:pt x="919" y="227"/>
                  </a:lnTo>
                  <a:lnTo>
                    <a:pt x="919" y="226"/>
                  </a:lnTo>
                  <a:lnTo>
                    <a:pt x="920" y="225"/>
                  </a:lnTo>
                  <a:lnTo>
                    <a:pt x="923" y="223"/>
                  </a:lnTo>
                  <a:lnTo>
                    <a:pt x="925" y="221"/>
                  </a:lnTo>
                  <a:lnTo>
                    <a:pt x="926" y="220"/>
                  </a:lnTo>
                  <a:lnTo>
                    <a:pt x="926" y="219"/>
                  </a:lnTo>
                  <a:lnTo>
                    <a:pt x="926" y="217"/>
                  </a:lnTo>
                  <a:lnTo>
                    <a:pt x="928" y="217"/>
                  </a:lnTo>
                  <a:lnTo>
                    <a:pt x="930" y="217"/>
                  </a:lnTo>
                  <a:lnTo>
                    <a:pt x="933" y="217"/>
                  </a:lnTo>
                  <a:lnTo>
                    <a:pt x="934" y="217"/>
                  </a:lnTo>
                  <a:lnTo>
                    <a:pt x="934" y="215"/>
                  </a:lnTo>
                  <a:lnTo>
                    <a:pt x="934" y="212"/>
                  </a:lnTo>
                  <a:lnTo>
                    <a:pt x="934" y="207"/>
                  </a:lnTo>
                  <a:lnTo>
                    <a:pt x="936" y="206"/>
                  </a:lnTo>
                  <a:lnTo>
                    <a:pt x="937" y="206"/>
                  </a:lnTo>
                  <a:lnTo>
                    <a:pt x="938" y="204"/>
                  </a:lnTo>
                  <a:lnTo>
                    <a:pt x="941" y="205"/>
                  </a:lnTo>
                  <a:lnTo>
                    <a:pt x="943" y="206"/>
                  </a:lnTo>
                  <a:lnTo>
                    <a:pt x="944" y="206"/>
                  </a:lnTo>
                  <a:lnTo>
                    <a:pt x="946" y="205"/>
                  </a:lnTo>
                  <a:lnTo>
                    <a:pt x="945" y="205"/>
                  </a:lnTo>
                  <a:lnTo>
                    <a:pt x="944" y="203"/>
                  </a:lnTo>
                  <a:lnTo>
                    <a:pt x="942" y="202"/>
                  </a:lnTo>
                  <a:lnTo>
                    <a:pt x="946" y="199"/>
                  </a:lnTo>
                  <a:lnTo>
                    <a:pt x="949" y="198"/>
                  </a:lnTo>
                  <a:lnTo>
                    <a:pt x="946" y="197"/>
                  </a:lnTo>
                  <a:lnTo>
                    <a:pt x="945" y="197"/>
                  </a:lnTo>
                  <a:lnTo>
                    <a:pt x="945" y="196"/>
                  </a:lnTo>
                  <a:lnTo>
                    <a:pt x="946" y="196"/>
                  </a:lnTo>
                  <a:lnTo>
                    <a:pt x="947" y="195"/>
                  </a:lnTo>
                  <a:lnTo>
                    <a:pt x="949" y="196"/>
                  </a:lnTo>
                  <a:lnTo>
                    <a:pt x="951" y="197"/>
                  </a:lnTo>
                  <a:lnTo>
                    <a:pt x="954" y="198"/>
                  </a:lnTo>
                  <a:lnTo>
                    <a:pt x="957" y="198"/>
                  </a:lnTo>
                  <a:lnTo>
                    <a:pt x="959" y="197"/>
                  </a:lnTo>
                  <a:lnTo>
                    <a:pt x="961" y="195"/>
                  </a:lnTo>
                  <a:lnTo>
                    <a:pt x="963" y="193"/>
                  </a:lnTo>
                  <a:lnTo>
                    <a:pt x="965" y="192"/>
                  </a:lnTo>
                  <a:lnTo>
                    <a:pt x="964" y="190"/>
                  </a:lnTo>
                  <a:lnTo>
                    <a:pt x="965" y="189"/>
                  </a:lnTo>
                  <a:lnTo>
                    <a:pt x="966" y="187"/>
                  </a:lnTo>
                  <a:lnTo>
                    <a:pt x="967" y="186"/>
                  </a:lnTo>
                  <a:lnTo>
                    <a:pt x="965" y="185"/>
                  </a:lnTo>
                  <a:lnTo>
                    <a:pt x="963" y="184"/>
                  </a:lnTo>
                  <a:lnTo>
                    <a:pt x="961" y="182"/>
                  </a:lnTo>
                  <a:lnTo>
                    <a:pt x="961" y="179"/>
                  </a:lnTo>
                  <a:lnTo>
                    <a:pt x="965" y="180"/>
                  </a:lnTo>
                  <a:lnTo>
                    <a:pt x="966" y="181"/>
                  </a:lnTo>
                  <a:lnTo>
                    <a:pt x="969" y="180"/>
                  </a:lnTo>
                  <a:lnTo>
                    <a:pt x="971" y="165"/>
                  </a:lnTo>
                  <a:lnTo>
                    <a:pt x="974" y="165"/>
                  </a:lnTo>
                  <a:lnTo>
                    <a:pt x="978" y="165"/>
                  </a:lnTo>
                  <a:lnTo>
                    <a:pt x="978" y="163"/>
                  </a:lnTo>
                  <a:lnTo>
                    <a:pt x="978" y="162"/>
                  </a:lnTo>
                  <a:lnTo>
                    <a:pt x="980" y="161"/>
                  </a:lnTo>
                  <a:lnTo>
                    <a:pt x="984" y="162"/>
                  </a:lnTo>
                  <a:lnTo>
                    <a:pt x="986" y="162"/>
                  </a:lnTo>
                  <a:lnTo>
                    <a:pt x="987" y="164"/>
                  </a:lnTo>
                  <a:lnTo>
                    <a:pt x="988" y="165"/>
                  </a:lnTo>
                  <a:lnTo>
                    <a:pt x="989" y="165"/>
                  </a:lnTo>
                  <a:lnTo>
                    <a:pt x="990" y="165"/>
                  </a:lnTo>
                  <a:lnTo>
                    <a:pt x="994" y="164"/>
                  </a:lnTo>
                  <a:lnTo>
                    <a:pt x="999" y="161"/>
                  </a:lnTo>
                  <a:lnTo>
                    <a:pt x="1003" y="161"/>
                  </a:lnTo>
                  <a:lnTo>
                    <a:pt x="1004" y="160"/>
                  </a:lnTo>
                  <a:lnTo>
                    <a:pt x="1005" y="159"/>
                  </a:lnTo>
                  <a:lnTo>
                    <a:pt x="1005" y="158"/>
                  </a:lnTo>
                  <a:lnTo>
                    <a:pt x="1005" y="156"/>
                  </a:lnTo>
                  <a:lnTo>
                    <a:pt x="1003" y="152"/>
                  </a:lnTo>
                  <a:lnTo>
                    <a:pt x="1005" y="151"/>
                  </a:lnTo>
                  <a:lnTo>
                    <a:pt x="1005" y="150"/>
                  </a:lnTo>
                  <a:lnTo>
                    <a:pt x="1005" y="148"/>
                  </a:lnTo>
                  <a:lnTo>
                    <a:pt x="1007" y="148"/>
                  </a:lnTo>
                  <a:lnTo>
                    <a:pt x="1008" y="148"/>
                  </a:lnTo>
                  <a:lnTo>
                    <a:pt x="1008" y="147"/>
                  </a:lnTo>
                  <a:lnTo>
                    <a:pt x="1007" y="144"/>
                  </a:lnTo>
                  <a:lnTo>
                    <a:pt x="989" y="143"/>
                  </a:lnTo>
                  <a:lnTo>
                    <a:pt x="967" y="142"/>
                  </a:lnTo>
                  <a:lnTo>
                    <a:pt x="974" y="140"/>
                  </a:lnTo>
                  <a:lnTo>
                    <a:pt x="975" y="139"/>
                  </a:lnTo>
                  <a:lnTo>
                    <a:pt x="976" y="138"/>
                  </a:lnTo>
                  <a:lnTo>
                    <a:pt x="977" y="136"/>
                  </a:lnTo>
                  <a:lnTo>
                    <a:pt x="977" y="134"/>
                  </a:lnTo>
                  <a:lnTo>
                    <a:pt x="978" y="131"/>
                  </a:lnTo>
                  <a:lnTo>
                    <a:pt x="980" y="131"/>
                  </a:lnTo>
                  <a:lnTo>
                    <a:pt x="980" y="132"/>
                  </a:lnTo>
                  <a:lnTo>
                    <a:pt x="980" y="133"/>
                  </a:lnTo>
                  <a:lnTo>
                    <a:pt x="980" y="134"/>
                  </a:lnTo>
                  <a:lnTo>
                    <a:pt x="991" y="134"/>
                  </a:lnTo>
                  <a:lnTo>
                    <a:pt x="995" y="135"/>
                  </a:lnTo>
                  <a:lnTo>
                    <a:pt x="999" y="136"/>
                  </a:lnTo>
                  <a:lnTo>
                    <a:pt x="1005" y="139"/>
                  </a:lnTo>
                  <a:lnTo>
                    <a:pt x="1013" y="144"/>
                  </a:lnTo>
                  <a:lnTo>
                    <a:pt x="1013" y="143"/>
                  </a:lnTo>
                  <a:lnTo>
                    <a:pt x="1013" y="141"/>
                  </a:lnTo>
                  <a:lnTo>
                    <a:pt x="1013" y="140"/>
                  </a:lnTo>
                  <a:lnTo>
                    <a:pt x="1013" y="138"/>
                  </a:lnTo>
                  <a:lnTo>
                    <a:pt x="1015" y="136"/>
                  </a:lnTo>
                  <a:lnTo>
                    <a:pt x="1019" y="134"/>
                  </a:lnTo>
                  <a:lnTo>
                    <a:pt x="1016" y="127"/>
                  </a:lnTo>
                  <a:lnTo>
                    <a:pt x="1015" y="121"/>
                  </a:lnTo>
                  <a:lnTo>
                    <a:pt x="1021" y="120"/>
                  </a:lnTo>
                  <a:lnTo>
                    <a:pt x="1026" y="119"/>
                  </a:lnTo>
                  <a:lnTo>
                    <a:pt x="1028" y="120"/>
                  </a:lnTo>
                  <a:lnTo>
                    <a:pt x="1029" y="121"/>
                  </a:lnTo>
                  <a:lnTo>
                    <a:pt x="1031" y="124"/>
                  </a:lnTo>
                  <a:lnTo>
                    <a:pt x="1033" y="126"/>
                  </a:lnTo>
                  <a:lnTo>
                    <a:pt x="1034" y="127"/>
                  </a:lnTo>
                  <a:lnTo>
                    <a:pt x="1037" y="128"/>
                  </a:lnTo>
                  <a:lnTo>
                    <a:pt x="1040" y="129"/>
                  </a:lnTo>
                  <a:lnTo>
                    <a:pt x="1043" y="128"/>
                  </a:lnTo>
                  <a:lnTo>
                    <a:pt x="1045" y="128"/>
                  </a:lnTo>
                  <a:lnTo>
                    <a:pt x="1046" y="127"/>
                  </a:lnTo>
                  <a:lnTo>
                    <a:pt x="1047" y="126"/>
                  </a:lnTo>
                  <a:lnTo>
                    <a:pt x="1046" y="125"/>
                  </a:lnTo>
                  <a:lnTo>
                    <a:pt x="1045" y="124"/>
                  </a:lnTo>
                  <a:lnTo>
                    <a:pt x="1043" y="122"/>
                  </a:lnTo>
                  <a:lnTo>
                    <a:pt x="1040" y="121"/>
                  </a:lnTo>
                  <a:lnTo>
                    <a:pt x="1040" y="117"/>
                  </a:lnTo>
                  <a:lnTo>
                    <a:pt x="1042" y="117"/>
                  </a:lnTo>
                  <a:lnTo>
                    <a:pt x="1043" y="117"/>
                  </a:lnTo>
                  <a:lnTo>
                    <a:pt x="1044" y="115"/>
                  </a:lnTo>
                  <a:lnTo>
                    <a:pt x="1045" y="115"/>
                  </a:lnTo>
                  <a:lnTo>
                    <a:pt x="1045" y="119"/>
                  </a:lnTo>
                  <a:lnTo>
                    <a:pt x="1048" y="120"/>
                  </a:lnTo>
                  <a:lnTo>
                    <a:pt x="1049" y="121"/>
                  </a:lnTo>
                  <a:lnTo>
                    <a:pt x="1053" y="123"/>
                  </a:lnTo>
                  <a:lnTo>
                    <a:pt x="1057" y="118"/>
                  </a:lnTo>
                  <a:lnTo>
                    <a:pt x="1059" y="115"/>
                  </a:lnTo>
                  <a:lnTo>
                    <a:pt x="1061" y="113"/>
                  </a:lnTo>
                  <a:lnTo>
                    <a:pt x="1062" y="113"/>
                  </a:lnTo>
                  <a:lnTo>
                    <a:pt x="1064" y="113"/>
                  </a:lnTo>
                  <a:lnTo>
                    <a:pt x="1065" y="113"/>
                  </a:lnTo>
                  <a:lnTo>
                    <a:pt x="1066" y="113"/>
                  </a:lnTo>
                  <a:lnTo>
                    <a:pt x="1068" y="109"/>
                  </a:lnTo>
                  <a:lnTo>
                    <a:pt x="1075" y="107"/>
                  </a:lnTo>
                  <a:lnTo>
                    <a:pt x="1080" y="106"/>
                  </a:lnTo>
                  <a:lnTo>
                    <a:pt x="1084" y="104"/>
                  </a:lnTo>
                  <a:lnTo>
                    <a:pt x="1090" y="102"/>
                  </a:lnTo>
                  <a:lnTo>
                    <a:pt x="1089" y="97"/>
                  </a:lnTo>
                  <a:lnTo>
                    <a:pt x="1089" y="94"/>
                  </a:lnTo>
                  <a:lnTo>
                    <a:pt x="1090" y="92"/>
                  </a:lnTo>
                  <a:lnTo>
                    <a:pt x="1083" y="90"/>
                  </a:lnTo>
                  <a:lnTo>
                    <a:pt x="1080" y="88"/>
                  </a:lnTo>
                  <a:lnTo>
                    <a:pt x="1077" y="86"/>
                  </a:lnTo>
                  <a:lnTo>
                    <a:pt x="1074" y="84"/>
                  </a:lnTo>
                  <a:lnTo>
                    <a:pt x="1073" y="81"/>
                  </a:lnTo>
                  <a:lnTo>
                    <a:pt x="1072" y="79"/>
                  </a:lnTo>
                  <a:lnTo>
                    <a:pt x="1072" y="77"/>
                  </a:lnTo>
                  <a:lnTo>
                    <a:pt x="1072" y="75"/>
                  </a:lnTo>
                  <a:lnTo>
                    <a:pt x="1072" y="73"/>
                  </a:lnTo>
                  <a:lnTo>
                    <a:pt x="1074" y="72"/>
                  </a:lnTo>
                  <a:lnTo>
                    <a:pt x="1075" y="70"/>
                  </a:lnTo>
                  <a:lnTo>
                    <a:pt x="1074" y="69"/>
                  </a:lnTo>
                  <a:lnTo>
                    <a:pt x="1076" y="70"/>
                  </a:lnTo>
                  <a:lnTo>
                    <a:pt x="1077" y="70"/>
                  </a:lnTo>
                  <a:lnTo>
                    <a:pt x="1079" y="68"/>
                  </a:lnTo>
                  <a:lnTo>
                    <a:pt x="1079" y="66"/>
                  </a:lnTo>
                  <a:lnTo>
                    <a:pt x="1080" y="65"/>
                  </a:lnTo>
                  <a:lnTo>
                    <a:pt x="1078" y="66"/>
                  </a:lnTo>
                  <a:lnTo>
                    <a:pt x="1077" y="66"/>
                  </a:lnTo>
                  <a:lnTo>
                    <a:pt x="1076" y="65"/>
                  </a:lnTo>
                  <a:lnTo>
                    <a:pt x="1075" y="65"/>
                  </a:lnTo>
                  <a:lnTo>
                    <a:pt x="1075" y="63"/>
                  </a:lnTo>
                  <a:lnTo>
                    <a:pt x="1076" y="61"/>
                  </a:lnTo>
                  <a:lnTo>
                    <a:pt x="1080" y="56"/>
                  </a:lnTo>
                  <a:lnTo>
                    <a:pt x="1082" y="54"/>
                  </a:lnTo>
                  <a:lnTo>
                    <a:pt x="1082" y="51"/>
                  </a:lnTo>
                  <a:lnTo>
                    <a:pt x="1081" y="50"/>
                  </a:lnTo>
                  <a:lnTo>
                    <a:pt x="1080" y="49"/>
                  </a:lnTo>
                  <a:lnTo>
                    <a:pt x="1080" y="48"/>
                  </a:lnTo>
                  <a:lnTo>
                    <a:pt x="1078" y="49"/>
                  </a:lnTo>
                  <a:lnTo>
                    <a:pt x="1077" y="50"/>
                  </a:lnTo>
                  <a:lnTo>
                    <a:pt x="1074" y="52"/>
                  </a:lnTo>
                  <a:lnTo>
                    <a:pt x="1073" y="51"/>
                  </a:lnTo>
                  <a:lnTo>
                    <a:pt x="1071" y="51"/>
                  </a:lnTo>
                  <a:lnTo>
                    <a:pt x="1070" y="51"/>
                  </a:lnTo>
                  <a:lnTo>
                    <a:pt x="1068" y="50"/>
                  </a:lnTo>
                  <a:lnTo>
                    <a:pt x="1065" y="36"/>
                  </a:lnTo>
                  <a:lnTo>
                    <a:pt x="1056" y="37"/>
                  </a:lnTo>
                  <a:lnTo>
                    <a:pt x="1049" y="36"/>
                  </a:lnTo>
                  <a:lnTo>
                    <a:pt x="1042" y="35"/>
                  </a:lnTo>
                  <a:lnTo>
                    <a:pt x="1032" y="35"/>
                  </a:lnTo>
                  <a:lnTo>
                    <a:pt x="1034" y="41"/>
                  </a:lnTo>
                  <a:lnTo>
                    <a:pt x="1036" y="47"/>
                  </a:lnTo>
                  <a:lnTo>
                    <a:pt x="1042" y="60"/>
                  </a:lnTo>
                  <a:lnTo>
                    <a:pt x="1040" y="61"/>
                  </a:lnTo>
                  <a:lnTo>
                    <a:pt x="1040" y="63"/>
                  </a:lnTo>
                  <a:lnTo>
                    <a:pt x="1036" y="63"/>
                  </a:lnTo>
                  <a:lnTo>
                    <a:pt x="1032" y="63"/>
                  </a:lnTo>
                  <a:lnTo>
                    <a:pt x="1031" y="71"/>
                  </a:lnTo>
                  <a:lnTo>
                    <a:pt x="1030" y="79"/>
                  </a:lnTo>
                  <a:lnTo>
                    <a:pt x="1026" y="79"/>
                  </a:lnTo>
                  <a:lnTo>
                    <a:pt x="1023" y="85"/>
                  </a:lnTo>
                  <a:lnTo>
                    <a:pt x="1020" y="91"/>
                  </a:lnTo>
                  <a:lnTo>
                    <a:pt x="1017" y="97"/>
                  </a:lnTo>
                  <a:lnTo>
                    <a:pt x="1013" y="102"/>
                  </a:lnTo>
                  <a:lnTo>
                    <a:pt x="1014" y="102"/>
                  </a:lnTo>
                  <a:lnTo>
                    <a:pt x="1014" y="103"/>
                  </a:lnTo>
                  <a:lnTo>
                    <a:pt x="1012" y="103"/>
                  </a:lnTo>
                  <a:lnTo>
                    <a:pt x="1008" y="103"/>
                  </a:lnTo>
                  <a:lnTo>
                    <a:pt x="1006" y="102"/>
                  </a:lnTo>
                  <a:lnTo>
                    <a:pt x="1005" y="102"/>
                  </a:lnTo>
                  <a:lnTo>
                    <a:pt x="1004" y="101"/>
                  </a:lnTo>
                  <a:lnTo>
                    <a:pt x="1004" y="100"/>
                  </a:lnTo>
                  <a:lnTo>
                    <a:pt x="1003" y="97"/>
                  </a:lnTo>
                  <a:lnTo>
                    <a:pt x="1002" y="95"/>
                  </a:lnTo>
                  <a:lnTo>
                    <a:pt x="1001" y="92"/>
                  </a:lnTo>
                  <a:lnTo>
                    <a:pt x="1000" y="91"/>
                  </a:lnTo>
                  <a:lnTo>
                    <a:pt x="998" y="91"/>
                  </a:lnTo>
                  <a:lnTo>
                    <a:pt x="997" y="90"/>
                  </a:lnTo>
                  <a:lnTo>
                    <a:pt x="995" y="88"/>
                  </a:lnTo>
                  <a:lnTo>
                    <a:pt x="992" y="84"/>
                  </a:lnTo>
                  <a:lnTo>
                    <a:pt x="990" y="80"/>
                  </a:lnTo>
                  <a:lnTo>
                    <a:pt x="990" y="79"/>
                  </a:lnTo>
                  <a:lnTo>
                    <a:pt x="992" y="77"/>
                  </a:lnTo>
                  <a:lnTo>
                    <a:pt x="993" y="75"/>
                  </a:lnTo>
                  <a:lnTo>
                    <a:pt x="996" y="70"/>
                  </a:lnTo>
                  <a:lnTo>
                    <a:pt x="999" y="60"/>
                  </a:lnTo>
                  <a:lnTo>
                    <a:pt x="1001" y="59"/>
                  </a:lnTo>
                  <a:lnTo>
                    <a:pt x="1002" y="58"/>
                  </a:lnTo>
                  <a:lnTo>
                    <a:pt x="1001" y="58"/>
                  </a:lnTo>
                  <a:lnTo>
                    <a:pt x="1000" y="57"/>
                  </a:lnTo>
                  <a:lnTo>
                    <a:pt x="999" y="56"/>
                  </a:lnTo>
                  <a:lnTo>
                    <a:pt x="998" y="53"/>
                  </a:lnTo>
                  <a:lnTo>
                    <a:pt x="995" y="46"/>
                  </a:lnTo>
                  <a:lnTo>
                    <a:pt x="990" y="48"/>
                  </a:lnTo>
                  <a:lnTo>
                    <a:pt x="984" y="50"/>
                  </a:lnTo>
                  <a:lnTo>
                    <a:pt x="983" y="59"/>
                  </a:lnTo>
                  <a:lnTo>
                    <a:pt x="982" y="69"/>
                  </a:lnTo>
                  <a:lnTo>
                    <a:pt x="980" y="69"/>
                  </a:lnTo>
                  <a:lnTo>
                    <a:pt x="979" y="70"/>
                  </a:lnTo>
                  <a:lnTo>
                    <a:pt x="977" y="70"/>
                  </a:lnTo>
                  <a:lnTo>
                    <a:pt x="976" y="71"/>
                  </a:lnTo>
                  <a:lnTo>
                    <a:pt x="976" y="73"/>
                  </a:lnTo>
                  <a:lnTo>
                    <a:pt x="976" y="74"/>
                  </a:lnTo>
                  <a:lnTo>
                    <a:pt x="977" y="75"/>
                  </a:lnTo>
                  <a:lnTo>
                    <a:pt x="976" y="77"/>
                  </a:lnTo>
                  <a:lnTo>
                    <a:pt x="973" y="77"/>
                  </a:lnTo>
                  <a:lnTo>
                    <a:pt x="971" y="77"/>
                  </a:lnTo>
                  <a:lnTo>
                    <a:pt x="970" y="76"/>
                  </a:lnTo>
                  <a:lnTo>
                    <a:pt x="971" y="75"/>
                  </a:lnTo>
                  <a:lnTo>
                    <a:pt x="972" y="73"/>
                  </a:lnTo>
                  <a:lnTo>
                    <a:pt x="972" y="72"/>
                  </a:lnTo>
                  <a:lnTo>
                    <a:pt x="972" y="71"/>
                  </a:lnTo>
                  <a:lnTo>
                    <a:pt x="972" y="70"/>
                  </a:lnTo>
                  <a:lnTo>
                    <a:pt x="971" y="69"/>
                  </a:lnTo>
                  <a:lnTo>
                    <a:pt x="970" y="66"/>
                  </a:lnTo>
                  <a:lnTo>
                    <a:pt x="968" y="60"/>
                  </a:lnTo>
                  <a:lnTo>
                    <a:pt x="967" y="54"/>
                  </a:lnTo>
                  <a:lnTo>
                    <a:pt x="966" y="51"/>
                  </a:lnTo>
                  <a:lnTo>
                    <a:pt x="965" y="50"/>
                  </a:lnTo>
                  <a:lnTo>
                    <a:pt x="963" y="49"/>
                  </a:lnTo>
                  <a:lnTo>
                    <a:pt x="961" y="48"/>
                  </a:lnTo>
                  <a:lnTo>
                    <a:pt x="958" y="48"/>
                  </a:lnTo>
                  <a:lnTo>
                    <a:pt x="954" y="47"/>
                  </a:lnTo>
                  <a:lnTo>
                    <a:pt x="951" y="47"/>
                  </a:lnTo>
                  <a:lnTo>
                    <a:pt x="949" y="46"/>
                  </a:lnTo>
                  <a:lnTo>
                    <a:pt x="944" y="38"/>
                  </a:lnTo>
                  <a:lnTo>
                    <a:pt x="943" y="39"/>
                  </a:lnTo>
                  <a:lnTo>
                    <a:pt x="943" y="38"/>
                  </a:lnTo>
                  <a:lnTo>
                    <a:pt x="946" y="35"/>
                  </a:lnTo>
                  <a:lnTo>
                    <a:pt x="953" y="29"/>
                  </a:lnTo>
                  <a:lnTo>
                    <a:pt x="954" y="28"/>
                  </a:lnTo>
                  <a:lnTo>
                    <a:pt x="954" y="27"/>
                  </a:lnTo>
                  <a:lnTo>
                    <a:pt x="953" y="26"/>
                  </a:lnTo>
                  <a:lnTo>
                    <a:pt x="949" y="25"/>
                  </a:lnTo>
                  <a:lnTo>
                    <a:pt x="949" y="27"/>
                  </a:lnTo>
                  <a:lnTo>
                    <a:pt x="947" y="29"/>
                  </a:lnTo>
                  <a:lnTo>
                    <a:pt x="946" y="29"/>
                  </a:lnTo>
                  <a:lnTo>
                    <a:pt x="947" y="27"/>
                  </a:lnTo>
                  <a:lnTo>
                    <a:pt x="947" y="25"/>
                  </a:lnTo>
                  <a:lnTo>
                    <a:pt x="947" y="19"/>
                  </a:lnTo>
                  <a:lnTo>
                    <a:pt x="953" y="21"/>
                  </a:lnTo>
                  <a:lnTo>
                    <a:pt x="959" y="23"/>
                  </a:lnTo>
                  <a:lnTo>
                    <a:pt x="960" y="20"/>
                  </a:lnTo>
                  <a:lnTo>
                    <a:pt x="960" y="18"/>
                  </a:lnTo>
                  <a:lnTo>
                    <a:pt x="961" y="17"/>
                  </a:lnTo>
                  <a:lnTo>
                    <a:pt x="959" y="17"/>
                  </a:lnTo>
                  <a:lnTo>
                    <a:pt x="957" y="17"/>
                  </a:lnTo>
                  <a:lnTo>
                    <a:pt x="956" y="17"/>
                  </a:lnTo>
                  <a:lnTo>
                    <a:pt x="955" y="17"/>
                  </a:lnTo>
                  <a:lnTo>
                    <a:pt x="955" y="13"/>
                  </a:lnTo>
                  <a:lnTo>
                    <a:pt x="954" y="13"/>
                  </a:lnTo>
                  <a:lnTo>
                    <a:pt x="952" y="13"/>
                  </a:lnTo>
                  <a:lnTo>
                    <a:pt x="947" y="12"/>
                  </a:lnTo>
                  <a:lnTo>
                    <a:pt x="946" y="10"/>
                  </a:lnTo>
                  <a:lnTo>
                    <a:pt x="945" y="8"/>
                  </a:lnTo>
                  <a:lnTo>
                    <a:pt x="943" y="5"/>
                  </a:lnTo>
                  <a:lnTo>
                    <a:pt x="942" y="4"/>
                  </a:lnTo>
                  <a:lnTo>
                    <a:pt x="938" y="3"/>
                  </a:lnTo>
                  <a:lnTo>
                    <a:pt x="935" y="2"/>
                  </a:lnTo>
                  <a:lnTo>
                    <a:pt x="931" y="1"/>
                  </a:lnTo>
                  <a:lnTo>
                    <a:pt x="928" y="0"/>
                  </a:lnTo>
                  <a:lnTo>
                    <a:pt x="907" y="0"/>
                  </a:lnTo>
                  <a:lnTo>
                    <a:pt x="905" y="1"/>
                  </a:lnTo>
                  <a:lnTo>
                    <a:pt x="903" y="2"/>
                  </a:lnTo>
                  <a:lnTo>
                    <a:pt x="900" y="4"/>
                  </a:lnTo>
                  <a:lnTo>
                    <a:pt x="898" y="7"/>
                  </a:lnTo>
                  <a:lnTo>
                    <a:pt x="896" y="10"/>
                  </a:lnTo>
                  <a:lnTo>
                    <a:pt x="895" y="13"/>
                  </a:lnTo>
                  <a:lnTo>
                    <a:pt x="895" y="15"/>
                  </a:lnTo>
                  <a:lnTo>
                    <a:pt x="896" y="16"/>
                  </a:lnTo>
                  <a:lnTo>
                    <a:pt x="896" y="18"/>
                  </a:lnTo>
                  <a:lnTo>
                    <a:pt x="898" y="19"/>
                  </a:lnTo>
                  <a:lnTo>
                    <a:pt x="895" y="19"/>
                  </a:lnTo>
                  <a:lnTo>
                    <a:pt x="892" y="19"/>
                  </a:lnTo>
                  <a:lnTo>
                    <a:pt x="892" y="20"/>
                  </a:lnTo>
                  <a:lnTo>
                    <a:pt x="891" y="21"/>
                  </a:lnTo>
                  <a:lnTo>
                    <a:pt x="890" y="23"/>
                  </a:lnTo>
                  <a:lnTo>
                    <a:pt x="896" y="28"/>
                  </a:lnTo>
                  <a:lnTo>
                    <a:pt x="898" y="30"/>
                  </a:lnTo>
                  <a:lnTo>
                    <a:pt x="901" y="33"/>
                  </a:lnTo>
                  <a:lnTo>
                    <a:pt x="900" y="33"/>
                  </a:lnTo>
                  <a:lnTo>
                    <a:pt x="898" y="34"/>
                  </a:lnTo>
                  <a:lnTo>
                    <a:pt x="897" y="35"/>
                  </a:lnTo>
                  <a:lnTo>
                    <a:pt x="897" y="36"/>
                  </a:lnTo>
                  <a:lnTo>
                    <a:pt x="897" y="37"/>
                  </a:lnTo>
                  <a:lnTo>
                    <a:pt x="898" y="38"/>
                  </a:lnTo>
                  <a:lnTo>
                    <a:pt x="900" y="38"/>
                  </a:lnTo>
                  <a:lnTo>
                    <a:pt x="903" y="38"/>
                  </a:lnTo>
                  <a:lnTo>
                    <a:pt x="903" y="39"/>
                  </a:lnTo>
                  <a:lnTo>
                    <a:pt x="903" y="40"/>
                  </a:lnTo>
                  <a:lnTo>
                    <a:pt x="905" y="40"/>
                  </a:lnTo>
                  <a:lnTo>
                    <a:pt x="904" y="39"/>
                  </a:lnTo>
                  <a:lnTo>
                    <a:pt x="904" y="36"/>
                  </a:lnTo>
                  <a:lnTo>
                    <a:pt x="904" y="34"/>
                  </a:lnTo>
                  <a:lnTo>
                    <a:pt x="905" y="33"/>
                  </a:lnTo>
                  <a:lnTo>
                    <a:pt x="907" y="32"/>
                  </a:lnTo>
                  <a:lnTo>
                    <a:pt x="908" y="33"/>
                  </a:lnTo>
                  <a:lnTo>
                    <a:pt x="910" y="33"/>
                  </a:lnTo>
                  <a:lnTo>
                    <a:pt x="911" y="33"/>
                  </a:lnTo>
                  <a:lnTo>
                    <a:pt x="914" y="37"/>
                  </a:lnTo>
                  <a:lnTo>
                    <a:pt x="917" y="40"/>
                  </a:lnTo>
                  <a:lnTo>
                    <a:pt x="920" y="42"/>
                  </a:lnTo>
                  <a:lnTo>
                    <a:pt x="922" y="43"/>
                  </a:lnTo>
                  <a:lnTo>
                    <a:pt x="925" y="42"/>
                  </a:lnTo>
                  <a:lnTo>
                    <a:pt x="928" y="41"/>
                  </a:lnTo>
                  <a:lnTo>
                    <a:pt x="932" y="39"/>
                  </a:lnTo>
                  <a:lnTo>
                    <a:pt x="938" y="36"/>
                  </a:lnTo>
                  <a:lnTo>
                    <a:pt x="938" y="40"/>
                  </a:lnTo>
                  <a:lnTo>
                    <a:pt x="934" y="41"/>
                  </a:lnTo>
                  <a:lnTo>
                    <a:pt x="932" y="42"/>
                  </a:lnTo>
                  <a:lnTo>
                    <a:pt x="930" y="42"/>
                  </a:lnTo>
                  <a:lnTo>
                    <a:pt x="930" y="44"/>
                  </a:lnTo>
                  <a:lnTo>
                    <a:pt x="930" y="47"/>
                  </a:lnTo>
                  <a:lnTo>
                    <a:pt x="930" y="52"/>
                  </a:lnTo>
                  <a:lnTo>
                    <a:pt x="927" y="51"/>
                  </a:lnTo>
                  <a:lnTo>
                    <a:pt x="924" y="50"/>
                  </a:lnTo>
                  <a:lnTo>
                    <a:pt x="922" y="50"/>
                  </a:lnTo>
                  <a:lnTo>
                    <a:pt x="919" y="50"/>
                  </a:lnTo>
                  <a:lnTo>
                    <a:pt x="918" y="57"/>
                  </a:lnTo>
                  <a:lnTo>
                    <a:pt x="917" y="65"/>
                  </a:lnTo>
                  <a:lnTo>
                    <a:pt x="922" y="64"/>
                  </a:lnTo>
                  <a:lnTo>
                    <a:pt x="924" y="63"/>
                  </a:lnTo>
                  <a:lnTo>
                    <a:pt x="926" y="63"/>
                  </a:lnTo>
                  <a:lnTo>
                    <a:pt x="926" y="64"/>
                  </a:lnTo>
                  <a:lnTo>
                    <a:pt x="926" y="65"/>
                  </a:lnTo>
                  <a:lnTo>
                    <a:pt x="927" y="66"/>
                  </a:lnTo>
                  <a:lnTo>
                    <a:pt x="928" y="69"/>
                  </a:lnTo>
                  <a:lnTo>
                    <a:pt x="924" y="70"/>
                  </a:lnTo>
                  <a:lnTo>
                    <a:pt x="921" y="70"/>
                  </a:lnTo>
                  <a:lnTo>
                    <a:pt x="919" y="71"/>
                  </a:lnTo>
                  <a:lnTo>
                    <a:pt x="919" y="73"/>
                  </a:lnTo>
                  <a:lnTo>
                    <a:pt x="910" y="79"/>
                  </a:lnTo>
                  <a:lnTo>
                    <a:pt x="906" y="83"/>
                  </a:lnTo>
                  <a:lnTo>
                    <a:pt x="902" y="87"/>
                  </a:lnTo>
                  <a:lnTo>
                    <a:pt x="901" y="89"/>
                  </a:lnTo>
                  <a:lnTo>
                    <a:pt x="900" y="91"/>
                  </a:lnTo>
                  <a:lnTo>
                    <a:pt x="899" y="95"/>
                  </a:lnTo>
                  <a:lnTo>
                    <a:pt x="899" y="98"/>
                  </a:lnTo>
                  <a:lnTo>
                    <a:pt x="901" y="100"/>
                  </a:lnTo>
                  <a:lnTo>
                    <a:pt x="903" y="102"/>
                  </a:lnTo>
                  <a:lnTo>
                    <a:pt x="905" y="104"/>
                  </a:lnTo>
                  <a:lnTo>
                    <a:pt x="905" y="105"/>
                  </a:lnTo>
                  <a:lnTo>
                    <a:pt x="904" y="106"/>
                  </a:lnTo>
                  <a:lnTo>
                    <a:pt x="903" y="108"/>
                  </a:lnTo>
                  <a:lnTo>
                    <a:pt x="899" y="105"/>
                  </a:lnTo>
                  <a:lnTo>
                    <a:pt x="894" y="102"/>
                  </a:lnTo>
                  <a:lnTo>
                    <a:pt x="891" y="99"/>
                  </a:lnTo>
                  <a:lnTo>
                    <a:pt x="889" y="97"/>
                  </a:lnTo>
                  <a:lnTo>
                    <a:pt x="888" y="94"/>
                  </a:lnTo>
                  <a:lnTo>
                    <a:pt x="887" y="91"/>
                  </a:lnTo>
                  <a:lnTo>
                    <a:pt x="886" y="84"/>
                  </a:lnTo>
                  <a:lnTo>
                    <a:pt x="886" y="75"/>
                  </a:lnTo>
                  <a:lnTo>
                    <a:pt x="885" y="75"/>
                  </a:lnTo>
                  <a:lnTo>
                    <a:pt x="884" y="75"/>
                  </a:lnTo>
                  <a:lnTo>
                    <a:pt x="882" y="77"/>
                  </a:lnTo>
                  <a:lnTo>
                    <a:pt x="883" y="78"/>
                  </a:lnTo>
                  <a:lnTo>
                    <a:pt x="882" y="79"/>
                  </a:lnTo>
                  <a:lnTo>
                    <a:pt x="880" y="79"/>
                  </a:lnTo>
                  <a:lnTo>
                    <a:pt x="875" y="73"/>
                  </a:lnTo>
                  <a:lnTo>
                    <a:pt x="869" y="67"/>
                  </a:lnTo>
                  <a:lnTo>
                    <a:pt x="867" y="70"/>
                  </a:lnTo>
                  <a:lnTo>
                    <a:pt x="865" y="75"/>
                  </a:lnTo>
                  <a:lnTo>
                    <a:pt x="865" y="77"/>
                  </a:lnTo>
                  <a:lnTo>
                    <a:pt x="865" y="80"/>
                  </a:lnTo>
                  <a:lnTo>
                    <a:pt x="865" y="82"/>
                  </a:lnTo>
                  <a:lnTo>
                    <a:pt x="867" y="84"/>
                  </a:lnTo>
                  <a:lnTo>
                    <a:pt x="861" y="86"/>
                  </a:lnTo>
                  <a:lnTo>
                    <a:pt x="856" y="88"/>
                  </a:lnTo>
                  <a:lnTo>
                    <a:pt x="853" y="88"/>
                  </a:lnTo>
                  <a:lnTo>
                    <a:pt x="850" y="88"/>
                  </a:lnTo>
                  <a:lnTo>
                    <a:pt x="844" y="86"/>
                  </a:lnTo>
                  <a:lnTo>
                    <a:pt x="842" y="83"/>
                  </a:lnTo>
                  <a:lnTo>
                    <a:pt x="839" y="83"/>
                  </a:lnTo>
                  <a:lnTo>
                    <a:pt x="837" y="84"/>
                  </a:lnTo>
                  <a:lnTo>
                    <a:pt x="833" y="86"/>
                  </a:lnTo>
                  <a:lnTo>
                    <a:pt x="829" y="89"/>
                  </a:lnTo>
                  <a:lnTo>
                    <a:pt x="827" y="90"/>
                  </a:lnTo>
                  <a:lnTo>
                    <a:pt x="825" y="90"/>
                  </a:lnTo>
                  <a:lnTo>
                    <a:pt x="823" y="86"/>
                  </a:lnTo>
                  <a:lnTo>
                    <a:pt x="821" y="86"/>
                  </a:lnTo>
                  <a:lnTo>
                    <a:pt x="819" y="86"/>
                  </a:lnTo>
                  <a:lnTo>
                    <a:pt x="817" y="86"/>
                  </a:lnTo>
                  <a:lnTo>
                    <a:pt x="814" y="86"/>
                  </a:lnTo>
                  <a:lnTo>
                    <a:pt x="809" y="84"/>
                  </a:lnTo>
                  <a:lnTo>
                    <a:pt x="808" y="83"/>
                  </a:lnTo>
                  <a:lnTo>
                    <a:pt x="806" y="80"/>
                  </a:lnTo>
                  <a:lnTo>
                    <a:pt x="804" y="78"/>
                  </a:lnTo>
                  <a:lnTo>
                    <a:pt x="802" y="77"/>
                  </a:lnTo>
                  <a:lnTo>
                    <a:pt x="801" y="77"/>
                  </a:lnTo>
                  <a:lnTo>
                    <a:pt x="800" y="77"/>
                  </a:lnTo>
                  <a:lnTo>
                    <a:pt x="799" y="78"/>
                  </a:lnTo>
                  <a:lnTo>
                    <a:pt x="797" y="80"/>
                  </a:lnTo>
                  <a:lnTo>
                    <a:pt x="796" y="81"/>
                  </a:lnTo>
                  <a:lnTo>
                    <a:pt x="796" y="79"/>
                  </a:lnTo>
                  <a:lnTo>
                    <a:pt x="794" y="81"/>
                  </a:lnTo>
                  <a:lnTo>
                    <a:pt x="792" y="81"/>
                  </a:lnTo>
                  <a:lnTo>
                    <a:pt x="790" y="81"/>
                  </a:lnTo>
                  <a:lnTo>
                    <a:pt x="790" y="80"/>
                  </a:lnTo>
                  <a:lnTo>
                    <a:pt x="791" y="79"/>
                  </a:lnTo>
                  <a:lnTo>
                    <a:pt x="792" y="77"/>
                  </a:lnTo>
                  <a:lnTo>
                    <a:pt x="792" y="76"/>
                  </a:lnTo>
                  <a:lnTo>
                    <a:pt x="792" y="75"/>
                  </a:lnTo>
                  <a:lnTo>
                    <a:pt x="791" y="74"/>
                  </a:lnTo>
                  <a:lnTo>
                    <a:pt x="789" y="74"/>
                  </a:lnTo>
                  <a:lnTo>
                    <a:pt x="787" y="74"/>
                  </a:lnTo>
                  <a:lnTo>
                    <a:pt x="786" y="73"/>
                  </a:lnTo>
                  <a:lnTo>
                    <a:pt x="785" y="74"/>
                  </a:lnTo>
                  <a:lnTo>
                    <a:pt x="784" y="75"/>
                  </a:lnTo>
                  <a:lnTo>
                    <a:pt x="783" y="76"/>
                  </a:lnTo>
                  <a:lnTo>
                    <a:pt x="780" y="77"/>
                  </a:lnTo>
                  <a:lnTo>
                    <a:pt x="778" y="68"/>
                  </a:lnTo>
                  <a:lnTo>
                    <a:pt x="776" y="64"/>
                  </a:lnTo>
                  <a:lnTo>
                    <a:pt x="775" y="60"/>
                  </a:lnTo>
                  <a:lnTo>
                    <a:pt x="765" y="60"/>
                  </a:lnTo>
                  <a:lnTo>
                    <a:pt x="757" y="60"/>
                  </a:lnTo>
                  <a:lnTo>
                    <a:pt x="739" y="61"/>
                  </a:lnTo>
                  <a:lnTo>
                    <a:pt x="737" y="66"/>
                  </a:lnTo>
                  <a:lnTo>
                    <a:pt x="736" y="70"/>
                  </a:lnTo>
                  <a:lnTo>
                    <a:pt x="735" y="74"/>
                  </a:lnTo>
                  <a:lnTo>
                    <a:pt x="733" y="79"/>
                  </a:lnTo>
                  <a:lnTo>
                    <a:pt x="737" y="77"/>
                  </a:lnTo>
                  <a:lnTo>
                    <a:pt x="739" y="77"/>
                  </a:lnTo>
                  <a:lnTo>
                    <a:pt x="738" y="77"/>
                  </a:lnTo>
                  <a:lnTo>
                    <a:pt x="738" y="78"/>
                  </a:lnTo>
                  <a:lnTo>
                    <a:pt x="740" y="78"/>
                  </a:lnTo>
                  <a:lnTo>
                    <a:pt x="744" y="79"/>
                  </a:lnTo>
                  <a:lnTo>
                    <a:pt x="741" y="73"/>
                  </a:lnTo>
                  <a:lnTo>
                    <a:pt x="745" y="73"/>
                  </a:lnTo>
                  <a:lnTo>
                    <a:pt x="746" y="74"/>
                  </a:lnTo>
                  <a:lnTo>
                    <a:pt x="747" y="75"/>
                  </a:lnTo>
                  <a:lnTo>
                    <a:pt x="750" y="75"/>
                  </a:lnTo>
                  <a:lnTo>
                    <a:pt x="754" y="69"/>
                  </a:lnTo>
                  <a:lnTo>
                    <a:pt x="758" y="70"/>
                  </a:lnTo>
                  <a:lnTo>
                    <a:pt x="760" y="71"/>
                  </a:lnTo>
                  <a:lnTo>
                    <a:pt x="763" y="71"/>
                  </a:lnTo>
                  <a:lnTo>
                    <a:pt x="737" y="88"/>
                  </a:lnTo>
                  <a:lnTo>
                    <a:pt x="738" y="91"/>
                  </a:lnTo>
                  <a:lnTo>
                    <a:pt x="739" y="93"/>
                  </a:lnTo>
                  <a:lnTo>
                    <a:pt x="741" y="96"/>
                  </a:lnTo>
                  <a:lnTo>
                    <a:pt x="741" y="98"/>
                  </a:lnTo>
                  <a:lnTo>
                    <a:pt x="740" y="99"/>
                  </a:lnTo>
                  <a:lnTo>
                    <a:pt x="739" y="100"/>
                  </a:lnTo>
                  <a:lnTo>
                    <a:pt x="739" y="102"/>
                  </a:lnTo>
                  <a:lnTo>
                    <a:pt x="741" y="103"/>
                  </a:lnTo>
                  <a:lnTo>
                    <a:pt x="742" y="104"/>
                  </a:lnTo>
                  <a:lnTo>
                    <a:pt x="744" y="106"/>
                  </a:lnTo>
                  <a:lnTo>
                    <a:pt x="746" y="106"/>
                  </a:lnTo>
                  <a:lnTo>
                    <a:pt x="746" y="107"/>
                  </a:lnTo>
                  <a:lnTo>
                    <a:pt x="745" y="108"/>
                  </a:lnTo>
                  <a:lnTo>
                    <a:pt x="744" y="108"/>
                  </a:lnTo>
                  <a:lnTo>
                    <a:pt x="742" y="108"/>
                  </a:lnTo>
                  <a:lnTo>
                    <a:pt x="741" y="108"/>
                  </a:lnTo>
                  <a:lnTo>
                    <a:pt x="740" y="110"/>
                  </a:lnTo>
                  <a:lnTo>
                    <a:pt x="739" y="113"/>
                  </a:lnTo>
                  <a:lnTo>
                    <a:pt x="738" y="112"/>
                  </a:lnTo>
                  <a:lnTo>
                    <a:pt x="736" y="111"/>
                  </a:lnTo>
                  <a:lnTo>
                    <a:pt x="735" y="110"/>
                  </a:lnTo>
                  <a:lnTo>
                    <a:pt x="733" y="109"/>
                  </a:lnTo>
                  <a:lnTo>
                    <a:pt x="733" y="107"/>
                  </a:lnTo>
                  <a:lnTo>
                    <a:pt x="732" y="105"/>
                  </a:lnTo>
                  <a:lnTo>
                    <a:pt x="732" y="98"/>
                  </a:lnTo>
                  <a:lnTo>
                    <a:pt x="731" y="94"/>
                  </a:lnTo>
                  <a:lnTo>
                    <a:pt x="730" y="94"/>
                  </a:lnTo>
                  <a:lnTo>
                    <a:pt x="730" y="96"/>
                  </a:lnTo>
                  <a:lnTo>
                    <a:pt x="728" y="102"/>
                  </a:lnTo>
                  <a:lnTo>
                    <a:pt x="726" y="94"/>
                  </a:lnTo>
                  <a:lnTo>
                    <a:pt x="724" y="86"/>
                  </a:lnTo>
                  <a:lnTo>
                    <a:pt x="720" y="87"/>
                  </a:lnTo>
                  <a:lnTo>
                    <a:pt x="716" y="86"/>
                  </a:lnTo>
                  <a:lnTo>
                    <a:pt x="715" y="85"/>
                  </a:lnTo>
                  <a:lnTo>
                    <a:pt x="714" y="83"/>
                  </a:lnTo>
                  <a:lnTo>
                    <a:pt x="712" y="79"/>
                  </a:lnTo>
                  <a:lnTo>
                    <a:pt x="707" y="83"/>
                  </a:lnTo>
                  <a:lnTo>
                    <a:pt x="705" y="85"/>
                  </a:lnTo>
                  <a:lnTo>
                    <a:pt x="703" y="86"/>
                  </a:lnTo>
                  <a:lnTo>
                    <a:pt x="701" y="87"/>
                  </a:lnTo>
                  <a:lnTo>
                    <a:pt x="701" y="86"/>
                  </a:lnTo>
                  <a:lnTo>
                    <a:pt x="701" y="85"/>
                  </a:lnTo>
                  <a:lnTo>
                    <a:pt x="701" y="84"/>
                  </a:lnTo>
                  <a:lnTo>
                    <a:pt x="697" y="84"/>
                  </a:lnTo>
                  <a:lnTo>
                    <a:pt x="693" y="85"/>
                  </a:lnTo>
                  <a:lnTo>
                    <a:pt x="683" y="88"/>
                  </a:lnTo>
                  <a:lnTo>
                    <a:pt x="678" y="90"/>
                  </a:lnTo>
                  <a:lnTo>
                    <a:pt x="673" y="91"/>
                  </a:lnTo>
                  <a:lnTo>
                    <a:pt x="667" y="91"/>
                  </a:lnTo>
                  <a:lnTo>
                    <a:pt x="662" y="90"/>
                  </a:lnTo>
                  <a:lnTo>
                    <a:pt x="661" y="89"/>
                  </a:lnTo>
                  <a:lnTo>
                    <a:pt x="660" y="88"/>
                  </a:lnTo>
                  <a:lnTo>
                    <a:pt x="659" y="86"/>
                  </a:lnTo>
                  <a:lnTo>
                    <a:pt x="659" y="83"/>
                  </a:lnTo>
                  <a:lnTo>
                    <a:pt x="659" y="81"/>
                  </a:lnTo>
                  <a:lnTo>
                    <a:pt x="659" y="80"/>
                  </a:lnTo>
                  <a:lnTo>
                    <a:pt x="661" y="79"/>
                  </a:lnTo>
                  <a:lnTo>
                    <a:pt x="662" y="79"/>
                  </a:lnTo>
                  <a:lnTo>
                    <a:pt x="661" y="77"/>
                  </a:lnTo>
                  <a:lnTo>
                    <a:pt x="660" y="76"/>
                  </a:lnTo>
                  <a:lnTo>
                    <a:pt x="660" y="75"/>
                  </a:lnTo>
                  <a:lnTo>
                    <a:pt x="666" y="75"/>
                  </a:lnTo>
                  <a:lnTo>
                    <a:pt x="672" y="75"/>
                  </a:lnTo>
                  <a:lnTo>
                    <a:pt x="665" y="66"/>
                  </a:lnTo>
                  <a:lnTo>
                    <a:pt x="660" y="62"/>
                  </a:lnTo>
                  <a:lnTo>
                    <a:pt x="657" y="60"/>
                  </a:lnTo>
                  <a:lnTo>
                    <a:pt x="653" y="59"/>
                  </a:lnTo>
                  <a:lnTo>
                    <a:pt x="650" y="60"/>
                  </a:lnTo>
                  <a:lnTo>
                    <a:pt x="649" y="61"/>
                  </a:lnTo>
                  <a:lnTo>
                    <a:pt x="648" y="62"/>
                  </a:lnTo>
                  <a:lnTo>
                    <a:pt x="647" y="64"/>
                  </a:lnTo>
                  <a:lnTo>
                    <a:pt x="646" y="65"/>
                  </a:lnTo>
                  <a:lnTo>
                    <a:pt x="644" y="65"/>
                  </a:lnTo>
                  <a:lnTo>
                    <a:pt x="639" y="65"/>
                  </a:lnTo>
                  <a:lnTo>
                    <a:pt x="637" y="64"/>
                  </a:lnTo>
                  <a:lnTo>
                    <a:pt x="634" y="62"/>
                  </a:lnTo>
                  <a:lnTo>
                    <a:pt x="630" y="60"/>
                  </a:lnTo>
                  <a:lnTo>
                    <a:pt x="628" y="59"/>
                  </a:lnTo>
                  <a:lnTo>
                    <a:pt x="626" y="59"/>
                  </a:lnTo>
                  <a:lnTo>
                    <a:pt x="623" y="59"/>
                  </a:lnTo>
                  <a:lnTo>
                    <a:pt x="619" y="59"/>
                  </a:lnTo>
                  <a:lnTo>
                    <a:pt x="616" y="58"/>
                  </a:lnTo>
                  <a:lnTo>
                    <a:pt x="616" y="56"/>
                  </a:lnTo>
                  <a:lnTo>
                    <a:pt x="616" y="55"/>
                  </a:lnTo>
                  <a:lnTo>
                    <a:pt x="615" y="53"/>
                  </a:lnTo>
                  <a:lnTo>
                    <a:pt x="615" y="52"/>
                  </a:lnTo>
                  <a:lnTo>
                    <a:pt x="614" y="52"/>
                  </a:lnTo>
                  <a:lnTo>
                    <a:pt x="612" y="51"/>
                  </a:lnTo>
                  <a:lnTo>
                    <a:pt x="611" y="52"/>
                  </a:lnTo>
                  <a:lnTo>
                    <a:pt x="610" y="53"/>
                  </a:lnTo>
                  <a:lnTo>
                    <a:pt x="609" y="54"/>
                  </a:lnTo>
                  <a:lnTo>
                    <a:pt x="605" y="50"/>
                  </a:lnTo>
                  <a:lnTo>
                    <a:pt x="596" y="46"/>
                  </a:lnTo>
                  <a:lnTo>
                    <a:pt x="586" y="41"/>
                  </a:lnTo>
                  <a:lnTo>
                    <a:pt x="581" y="39"/>
                  </a:lnTo>
                  <a:lnTo>
                    <a:pt x="575" y="38"/>
                  </a:lnTo>
                  <a:lnTo>
                    <a:pt x="570" y="38"/>
                  </a:lnTo>
                  <a:lnTo>
                    <a:pt x="564" y="38"/>
                  </a:lnTo>
                  <a:lnTo>
                    <a:pt x="564" y="42"/>
                  </a:lnTo>
                  <a:lnTo>
                    <a:pt x="559" y="45"/>
                  </a:lnTo>
                  <a:lnTo>
                    <a:pt x="553" y="48"/>
                  </a:lnTo>
                  <a:lnTo>
                    <a:pt x="551" y="42"/>
                  </a:lnTo>
                  <a:lnTo>
                    <a:pt x="550" y="37"/>
                  </a:lnTo>
                  <a:lnTo>
                    <a:pt x="549" y="29"/>
                  </a:lnTo>
                  <a:lnTo>
                    <a:pt x="548" y="30"/>
                  </a:lnTo>
                  <a:lnTo>
                    <a:pt x="548" y="31"/>
                  </a:lnTo>
                  <a:lnTo>
                    <a:pt x="545" y="33"/>
                  </a:lnTo>
                  <a:lnTo>
                    <a:pt x="546" y="33"/>
                  </a:lnTo>
                  <a:lnTo>
                    <a:pt x="547" y="35"/>
                  </a:lnTo>
                  <a:lnTo>
                    <a:pt x="546" y="40"/>
                  </a:lnTo>
                  <a:lnTo>
                    <a:pt x="543" y="50"/>
                  </a:lnTo>
                  <a:lnTo>
                    <a:pt x="540" y="50"/>
                  </a:lnTo>
                  <a:lnTo>
                    <a:pt x="528" y="40"/>
                  </a:lnTo>
                  <a:lnTo>
                    <a:pt x="522" y="35"/>
                  </a:lnTo>
                  <a:lnTo>
                    <a:pt x="518" y="31"/>
                  </a:lnTo>
                  <a:lnTo>
                    <a:pt x="518" y="27"/>
                  </a:lnTo>
                  <a:lnTo>
                    <a:pt x="515" y="27"/>
                  </a:lnTo>
                  <a:lnTo>
                    <a:pt x="515" y="25"/>
                  </a:lnTo>
                  <a:lnTo>
                    <a:pt x="509" y="21"/>
                  </a:lnTo>
                  <a:lnTo>
                    <a:pt x="504" y="17"/>
                  </a:lnTo>
                  <a:lnTo>
                    <a:pt x="499" y="12"/>
                  </a:lnTo>
                  <a:lnTo>
                    <a:pt x="493" y="8"/>
                  </a:lnTo>
                  <a:lnTo>
                    <a:pt x="492" y="17"/>
                  </a:lnTo>
                  <a:lnTo>
                    <a:pt x="493" y="17"/>
                  </a:lnTo>
                  <a:lnTo>
                    <a:pt x="493" y="18"/>
                  </a:lnTo>
                  <a:lnTo>
                    <a:pt x="494" y="19"/>
                  </a:lnTo>
                  <a:lnTo>
                    <a:pt x="494" y="20"/>
                  </a:lnTo>
                  <a:lnTo>
                    <a:pt x="493" y="21"/>
                  </a:lnTo>
                  <a:lnTo>
                    <a:pt x="492" y="21"/>
                  </a:lnTo>
                  <a:lnTo>
                    <a:pt x="489" y="28"/>
                  </a:lnTo>
                  <a:lnTo>
                    <a:pt x="487" y="32"/>
                  </a:lnTo>
                  <a:lnTo>
                    <a:pt x="486" y="35"/>
                  </a:lnTo>
                  <a:lnTo>
                    <a:pt x="483" y="33"/>
                  </a:lnTo>
                  <a:lnTo>
                    <a:pt x="480" y="33"/>
                  </a:lnTo>
                  <a:lnTo>
                    <a:pt x="478" y="33"/>
                  </a:lnTo>
                  <a:lnTo>
                    <a:pt x="475" y="33"/>
                  </a:lnTo>
                  <a:lnTo>
                    <a:pt x="473" y="35"/>
                  </a:lnTo>
                  <a:lnTo>
                    <a:pt x="472" y="36"/>
                  </a:lnTo>
                  <a:lnTo>
                    <a:pt x="471" y="37"/>
                  </a:lnTo>
                  <a:lnTo>
                    <a:pt x="470" y="39"/>
                  </a:lnTo>
                  <a:lnTo>
                    <a:pt x="468" y="44"/>
                  </a:lnTo>
                  <a:lnTo>
                    <a:pt x="467" y="50"/>
                  </a:lnTo>
                  <a:lnTo>
                    <a:pt x="465" y="50"/>
                  </a:lnTo>
                  <a:lnTo>
                    <a:pt x="465" y="49"/>
                  </a:lnTo>
                  <a:lnTo>
                    <a:pt x="465" y="48"/>
                  </a:lnTo>
                  <a:lnTo>
                    <a:pt x="463" y="46"/>
                  </a:lnTo>
                  <a:lnTo>
                    <a:pt x="460" y="48"/>
                  </a:lnTo>
                  <a:lnTo>
                    <a:pt x="457" y="50"/>
                  </a:lnTo>
                  <a:lnTo>
                    <a:pt x="457" y="46"/>
                  </a:lnTo>
                  <a:lnTo>
                    <a:pt x="451" y="49"/>
                  </a:lnTo>
                  <a:lnTo>
                    <a:pt x="447" y="50"/>
                  </a:lnTo>
                  <a:lnTo>
                    <a:pt x="445" y="52"/>
                  </a:lnTo>
                  <a:lnTo>
                    <a:pt x="442" y="63"/>
                  </a:lnTo>
                  <a:lnTo>
                    <a:pt x="440" y="64"/>
                  </a:lnTo>
                  <a:lnTo>
                    <a:pt x="438" y="64"/>
                  </a:lnTo>
                  <a:lnTo>
                    <a:pt x="436" y="64"/>
                  </a:lnTo>
                  <a:lnTo>
                    <a:pt x="434" y="65"/>
                  </a:lnTo>
                  <a:lnTo>
                    <a:pt x="433" y="65"/>
                  </a:lnTo>
                  <a:lnTo>
                    <a:pt x="433" y="64"/>
                  </a:lnTo>
                  <a:lnTo>
                    <a:pt x="434" y="63"/>
                  </a:lnTo>
                  <a:lnTo>
                    <a:pt x="432" y="63"/>
                  </a:lnTo>
                  <a:lnTo>
                    <a:pt x="439" y="51"/>
                  </a:lnTo>
                  <a:lnTo>
                    <a:pt x="443" y="44"/>
                  </a:lnTo>
                  <a:lnTo>
                    <a:pt x="445" y="40"/>
                  </a:lnTo>
                  <a:lnTo>
                    <a:pt x="450" y="39"/>
                  </a:lnTo>
                  <a:lnTo>
                    <a:pt x="456" y="38"/>
                  </a:lnTo>
                  <a:lnTo>
                    <a:pt x="461" y="37"/>
                  </a:lnTo>
                  <a:lnTo>
                    <a:pt x="467" y="35"/>
                  </a:lnTo>
                  <a:lnTo>
                    <a:pt x="472" y="31"/>
                  </a:lnTo>
                  <a:lnTo>
                    <a:pt x="475" y="29"/>
                  </a:lnTo>
                  <a:lnTo>
                    <a:pt x="476" y="28"/>
                  </a:lnTo>
                  <a:lnTo>
                    <a:pt x="476" y="27"/>
                  </a:lnTo>
                  <a:lnTo>
                    <a:pt x="476" y="26"/>
                  </a:lnTo>
                  <a:lnTo>
                    <a:pt x="474" y="25"/>
                  </a:lnTo>
                  <a:lnTo>
                    <a:pt x="471" y="24"/>
                  </a:lnTo>
                  <a:lnTo>
                    <a:pt x="461" y="23"/>
                  </a:lnTo>
                  <a:lnTo>
                    <a:pt x="459" y="29"/>
                  </a:lnTo>
                  <a:lnTo>
                    <a:pt x="458" y="31"/>
                  </a:lnTo>
                  <a:lnTo>
                    <a:pt x="457" y="35"/>
                  </a:lnTo>
                  <a:lnTo>
                    <a:pt x="455" y="34"/>
                  </a:lnTo>
                  <a:lnTo>
                    <a:pt x="454" y="33"/>
                  </a:lnTo>
                  <a:lnTo>
                    <a:pt x="451" y="31"/>
                  </a:lnTo>
                  <a:lnTo>
                    <a:pt x="442" y="33"/>
                  </a:lnTo>
                  <a:lnTo>
                    <a:pt x="434" y="36"/>
                  </a:lnTo>
                  <a:lnTo>
                    <a:pt x="433" y="39"/>
                  </a:lnTo>
                  <a:lnTo>
                    <a:pt x="433" y="41"/>
                  </a:lnTo>
                  <a:lnTo>
                    <a:pt x="433" y="43"/>
                  </a:lnTo>
                  <a:lnTo>
                    <a:pt x="432" y="44"/>
                  </a:lnTo>
                  <a:lnTo>
                    <a:pt x="430" y="45"/>
                  </a:lnTo>
                  <a:lnTo>
                    <a:pt x="428" y="45"/>
                  </a:lnTo>
                  <a:lnTo>
                    <a:pt x="426" y="46"/>
                  </a:lnTo>
                  <a:lnTo>
                    <a:pt x="424" y="46"/>
                  </a:lnTo>
                  <a:lnTo>
                    <a:pt x="424" y="43"/>
                  </a:lnTo>
                  <a:lnTo>
                    <a:pt x="424" y="40"/>
                  </a:lnTo>
                  <a:lnTo>
                    <a:pt x="420" y="39"/>
                  </a:lnTo>
                  <a:lnTo>
                    <a:pt x="419" y="38"/>
                  </a:lnTo>
                  <a:lnTo>
                    <a:pt x="417" y="36"/>
                  </a:lnTo>
                  <a:lnTo>
                    <a:pt x="416" y="40"/>
                  </a:lnTo>
                  <a:lnTo>
                    <a:pt x="416" y="43"/>
                  </a:lnTo>
                  <a:lnTo>
                    <a:pt x="416" y="45"/>
                  </a:lnTo>
                  <a:lnTo>
                    <a:pt x="415" y="48"/>
                  </a:lnTo>
                  <a:lnTo>
                    <a:pt x="414" y="49"/>
                  </a:lnTo>
                  <a:lnTo>
                    <a:pt x="413" y="48"/>
                  </a:lnTo>
                  <a:lnTo>
                    <a:pt x="413" y="46"/>
                  </a:lnTo>
                  <a:lnTo>
                    <a:pt x="411" y="46"/>
                  </a:lnTo>
                  <a:lnTo>
                    <a:pt x="410" y="46"/>
                  </a:lnTo>
                  <a:lnTo>
                    <a:pt x="409" y="47"/>
                  </a:lnTo>
                  <a:lnTo>
                    <a:pt x="409" y="48"/>
                  </a:lnTo>
                  <a:lnTo>
                    <a:pt x="410" y="50"/>
                  </a:lnTo>
                  <a:lnTo>
                    <a:pt x="410" y="51"/>
                  </a:lnTo>
                  <a:lnTo>
                    <a:pt x="409" y="52"/>
                  </a:lnTo>
                  <a:lnTo>
                    <a:pt x="407" y="52"/>
                  </a:lnTo>
                  <a:lnTo>
                    <a:pt x="404" y="51"/>
                  </a:lnTo>
                  <a:lnTo>
                    <a:pt x="397" y="50"/>
                  </a:lnTo>
                  <a:lnTo>
                    <a:pt x="398" y="52"/>
                  </a:lnTo>
                  <a:lnTo>
                    <a:pt x="397" y="53"/>
                  </a:lnTo>
                  <a:lnTo>
                    <a:pt x="398" y="54"/>
                  </a:lnTo>
                  <a:lnTo>
                    <a:pt x="399" y="54"/>
                  </a:lnTo>
                  <a:lnTo>
                    <a:pt x="399" y="56"/>
                  </a:lnTo>
                  <a:lnTo>
                    <a:pt x="402" y="56"/>
                  </a:lnTo>
                  <a:lnTo>
                    <a:pt x="403" y="58"/>
                  </a:lnTo>
                  <a:lnTo>
                    <a:pt x="404" y="59"/>
                  </a:lnTo>
                  <a:lnTo>
                    <a:pt x="405" y="60"/>
                  </a:lnTo>
                  <a:lnTo>
                    <a:pt x="404" y="61"/>
                  </a:lnTo>
                  <a:lnTo>
                    <a:pt x="404" y="62"/>
                  </a:lnTo>
                  <a:lnTo>
                    <a:pt x="402" y="62"/>
                  </a:lnTo>
                  <a:lnTo>
                    <a:pt x="401" y="62"/>
                  </a:lnTo>
                  <a:lnTo>
                    <a:pt x="399" y="61"/>
                  </a:lnTo>
                  <a:lnTo>
                    <a:pt x="397" y="56"/>
                  </a:lnTo>
                  <a:lnTo>
                    <a:pt x="395" y="55"/>
                  </a:lnTo>
                  <a:lnTo>
                    <a:pt x="393" y="54"/>
                  </a:lnTo>
                  <a:lnTo>
                    <a:pt x="391" y="54"/>
                  </a:lnTo>
                  <a:lnTo>
                    <a:pt x="388" y="54"/>
                  </a:lnTo>
                  <a:lnTo>
                    <a:pt x="386" y="50"/>
                  </a:lnTo>
                  <a:lnTo>
                    <a:pt x="372" y="45"/>
                  </a:lnTo>
                  <a:lnTo>
                    <a:pt x="364" y="42"/>
                  </a:lnTo>
                  <a:lnTo>
                    <a:pt x="361" y="40"/>
                  </a:lnTo>
                  <a:lnTo>
                    <a:pt x="359" y="38"/>
                  </a:lnTo>
                  <a:lnTo>
                    <a:pt x="358" y="36"/>
                  </a:lnTo>
                  <a:lnTo>
                    <a:pt x="357" y="35"/>
                  </a:lnTo>
                  <a:lnTo>
                    <a:pt x="354" y="34"/>
                  </a:lnTo>
                  <a:lnTo>
                    <a:pt x="352" y="34"/>
                  </a:lnTo>
                  <a:lnTo>
                    <a:pt x="348" y="35"/>
                  </a:lnTo>
                  <a:lnTo>
                    <a:pt x="345" y="36"/>
                  </a:lnTo>
                  <a:lnTo>
                    <a:pt x="342" y="37"/>
                  </a:lnTo>
                  <a:lnTo>
                    <a:pt x="340" y="36"/>
                  </a:lnTo>
                  <a:lnTo>
                    <a:pt x="337" y="36"/>
                  </a:lnTo>
                  <a:lnTo>
                    <a:pt x="334" y="35"/>
                  </a:lnTo>
                  <a:lnTo>
                    <a:pt x="328" y="32"/>
                  </a:lnTo>
                  <a:lnTo>
                    <a:pt x="322" y="29"/>
                  </a:lnTo>
                  <a:lnTo>
                    <a:pt x="316" y="27"/>
                  </a:lnTo>
                  <a:lnTo>
                    <a:pt x="313" y="26"/>
                  </a:lnTo>
                  <a:lnTo>
                    <a:pt x="310" y="25"/>
                  </a:lnTo>
                  <a:lnTo>
                    <a:pt x="303" y="25"/>
                  </a:lnTo>
                  <a:lnTo>
                    <a:pt x="303" y="31"/>
                  </a:lnTo>
                  <a:lnTo>
                    <a:pt x="297" y="31"/>
                  </a:lnTo>
                  <a:lnTo>
                    <a:pt x="292" y="31"/>
                  </a:lnTo>
                  <a:lnTo>
                    <a:pt x="290" y="27"/>
                  </a:lnTo>
                  <a:lnTo>
                    <a:pt x="275" y="27"/>
                  </a:lnTo>
                  <a:lnTo>
                    <a:pt x="275" y="23"/>
                  </a:lnTo>
                  <a:lnTo>
                    <a:pt x="268" y="23"/>
                  </a:lnTo>
                  <a:lnTo>
                    <a:pt x="261" y="24"/>
                  </a:lnTo>
                  <a:lnTo>
                    <a:pt x="254" y="25"/>
                  </a:lnTo>
                  <a:lnTo>
                    <a:pt x="248" y="25"/>
                  </a:lnTo>
                  <a:lnTo>
                    <a:pt x="246" y="21"/>
                  </a:lnTo>
                  <a:lnTo>
                    <a:pt x="244" y="21"/>
                  </a:lnTo>
                  <a:lnTo>
                    <a:pt x="243" y="22"/>
                  </a:lnTo>
                  <a:lnTo>
                    <a:pt x="242" y="23"/>
                  </a:lnTo>
                  <a:lnTo>
                    <a:pt x="240" y="23"/>
                  </a:lnTo>
                  <a:lnTo>
                    <a:pt x="238" y="22"/>
                  </a:lnTo>
                  <a:lnTo>
                    <a:pt x="235" y="20"/>
                  </a:lnTo>
                  <a:lnTo>
                    <a:pt x="233" y="18"/>
                  </a:lnTo>
                  <a:lnTo>
                    <a:pt x="230" y="17"/>
                  </a:lnTo>
                  <a:lnTo>
                    <a:pt x="227" y="17"/>
                  </a:lnTo>
                  <a:lnTo>
                    <a:pt x="224" y="18"/>
                  </a:lnTo>
                  <a:lnTo>
                    <a:pt x="222" y="18"/>
                  </a:lnTo>
                  <a:lnTo>
                    <a:pt x="220" y="19"/>
                  </a:lnTo>
                  <a:lnTo>
                    <a:pt x="218" y="20"/>
                  </a:lnTo>
                  <a:lnTo>
                    <a:pt x="215" y="21"/>
                  </a:lnTo>
                  <a:lnTo>
                    <a:pt x="213" y="21"/>
                  </a:lnTo>
                  <a:lnTo>
                    <a:pt x="209" y="21"/>
                  </a:lnTo>
                  <a:lnTo>
                    <a:pt x="205" y="20"/>
                  </a:lnTo>
                  <a:lnTo>
                    <a:pt x="199" y="19"/>
                  </a:lnTo>
                  <a:lnTo>
                    <a:pt x="188" y="15"/>
                  </a:lnTo>
                  <a:lnTo>
                    <a:pt x="186" y="12"/>
                  </a:lnTo>
                  <a:lnTo>
                    <a:pt x="181" y="11"/>
                  </a:lnTo>
                  <a:lnTo>
                    <a:pt x="175" y="12"/>
                  </a:lnTo>
                  <a:lnTo>
                    <a:pt x="170" y="13"/>
                  </a:lnTo>
                  <a:lnTo>
                    <a:pt x="168" y="13"/>
                  </a:lnTo>
                  <a:lnTo>
                    <a:pt x="167" y="13"/>
                  </a:lnTo>
                  <a:lnTo>
                    <a:pt x="165" y="12"/>
                  </a:lnTo>
                  <a:lnTo>
                    <a:pt x="164" y="10"/>
                  </a:lnTo>
                  <a:lnTo>
                    <a:pt x="163" y="7"/>
                  </a:lnTo>
                  <a:lnTo>
                    <a:pt x="161" y="6"/>
                  </a:lnTo>
                  <a:lnTo>
                    <a:pt x="156" y="10"/>
                  </a:lnTo>
                  <a:lnTo>
                    <a:pt x="150" y="13"/>
                  </a:lnTo>
                  <a:lnTo>
                    <a:pt x="149" y="12"/>
                  </a:lnTo>
                  <a:lnTo>
                    <a:pt x="149" y="10"/>
                  </a:lnTo>
                  <a:lnTo>
                    <a:pt x="148" y="5"/>
                  </a:lnTo>
                  <a:lnTo>
                    <a:pt x="147" y="3"/>
                  </a:lnTo>
                  <a:lnTo>
                    <a:pt x="144" y="2"/>
                  </a:lnTo>
                  <a:lnTo>
                    <a:pt x="140" y="1"/>
                  </a:lnTo>
                  <a:lnTo>
                    <a:pt x="134" y="2"/>
                  </a:lnTo>
                  <a:lnTo>
                    <a:pt x="133" y="2"/>
                  </a:lnTo>
                  <a:lnTo>
                    <a:pt x="132" y="3"/>
                  </a:lnTo>
                  <a:lnTo>
                    <a:pt x="129" y="7"/>
                  </a:lnTo>
                  <a:lnTo>
                    <a:pt x="125" y="10"/>
                  </a:lnTo>
                  <a:lnTo>
                    <a:pt x="123" y="12"/>
                  </a:lnTo>
                  <a:lnTo>
                    <a:pt x="120" y="12"/>
                  </a:lnTo>
                  <a:lnTo>
                    <a:pt x="117" y="12"/>
                  </a:lnTo>
                  <a:lnTo>
                    <a:pt x="114" y="11"/>
                  </a:lnTo>
                  <a:lnTo>
                    <a:pt x="111" y="12"/>
                  </a:lnTo>
                  <a:lnTo>
                    <a:pt x="110" y="14"/>
                  </a:lnTo>
                  <a:lnTo>
                    <a:pt x="109" y="15"/>
                  </a:lnTo>
                  <a:lnTo>
                    <a:pt x="108" y="15"/>
                  </a:lnTo>
                  <a:lnTo>
                    <a:pt x="107" y="14"/>
                  </a:lnTo>
                  <a:lnTo>
                    <a:pt x="107" y="13"/>
                  </a:lnTo>
                  <a:lnTo>
                    <a:pt x="107" y="12"/>
                  </a:lnTo>
                  <a:lnTo>
                    <a:pt x="106" y="11"/>
                  </a:lnTo>
                  <a:lnTo>
                    <a:pt x="105" y="11"/>
                  </a:lnTo>
                  <a:lnTo>
                    <a:pt x="104" y="12"/>
                  </a:lnTo>
                  <a:lnTo>
                    <a:pt x="104" y="15"/>
                  </a:lnTo>
                  <a:lnTo>
                    <a:pt x="101" y="16"/>
                  </a:lnTo>
                  <a:lnTo>
                    <a:pt x="98" y="15"/>
                  </a:lnTo>
                  <a:lnTo>
                    <a:pt x="97" y="17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3" y="20"/>
                  </a:lnTo>
                  <a:lnTo>
                    <a:pt x="89" y="19"/>
                  </a:lnTo>
                  <a:lnTo>
                    <a:pt x="86" y="19"/>
                  </a:lnTo>
                  <a:lnTo>
                    <a:pt x="83" y="19"/>
                  </a:lnTo>
                  <a:lnTo>
                    <a:pt x="81" y="20"/>
                  </a:lnTo>
                  <a:lnTo>
                    <a:pt x="79" y="21"/>
                  </a:lnTo>
                  <a:lnTo>
                    <a:pt x="76" y="25"/>
                  </a:lnTo>
                  <a:lnTo>
                    <a:pt x="74" y="29"/>
                  </a:lnTo>
                  <a:lnTo>
                    <a:pt x="73" y="31"/>
                  </a:lnTo>
                  <a:lnTo>
                    <a:pt x="71" y="33"/>
                  </a:lnTo>
                  <a:lnTo>
                    <a:pt x="70" y="33"/>
                  </a:lnTo>
                  <a:lnTo>
                    <a:pt x="68" y="33"/>
                  </a:lnTo>
                  <a:lnTo>
                    <a:pt x="67" y="34"/>
                  </a:lnTo>
                  <a:lnTo>
                    <a:pt x="65" y="35"/>
                  </a:lnTo>
                  <a:lnTo>
                    <a:pt x="64" y="39"/>
                  </a:lnTo>
                  <a:lnTo>
                    <a:pt x="62" y="47"/>
                  </a:lnTo>
                  <a:lnTo>
                    <a:pt x="61" y="54"/>
                  </a:lnTo>
                  <a:lnTo>
                    <a:pt x="60" y="58"/>
                  </a:lnTo>
                  <a:lnTo>
                    <a:pt x="58" y="59"/>
                  </a:lnTo>
                  <a:lnTo>
                    <a:pt x="55" y="59"/>
                  </a:lnTo>
                  <a:lnTo>
                    <a:pt x="49" y="60"/>
                  </a:lnTo>
                  <a:lnTo>
                    <a:pt x="39" y="60"/>
                  </a:lnTo>
                  <a:lnTo>
                    <a:pt x="37" y="60"/>
                  </a:lnTo>
                  <a:lnTo>
                    <a:pt x="36" y="61"/>
                  </a:lnTo>
                  <a:lnTo>
                    <a:pt x="34" y="63"/>
                  </a:lnTo>
                  <a:lnTo>
                    <a:pt x="33" y="63"/>
                  </a:lnTo>
                  <a:lnTo>
                    <a:pt x="28" y="62"/>
                  </a:lnTo>
                  <a:lnTo>
                    <a:pt x="24" y="61"/>
                  </a:lnTo>
                  <a:lnTo>
                    <a:pt x="23" y="61"/>
                  </a:lnTo>
                  <a:lnTo>
                    <a:pt x="21" y="61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19" y="77"/>
                  </a:lnTo>
                  <a:lnTo>
                    <a:pt x="23" y="78"/>
                  </a:lnTo>
                  <a:lnTo>
                    <a:pt x="27" y="80"/>
                  </a:lnTo>
                  <a:lnTo>
                    <a:pt x="31" y="81"/>
                  </a:lnTo>
                  <a:lnTo>
                    <a:pt x="35" y="83"/>
                  </a:lnTo>
                  <a:lnTo>
                    <a:pt x="37" y="85"/>
                  </a:lnTo>
                  <a:lnTo>
                    <a:pt x="39" y="88"/>
                  </a:lnTo>
                  <a:lnTo>
                    <a:pt x="42" y="90"/>
                  </a:lnTo>
                  <a:lnTo>
                    <a:pt x="44" y="92"/>
                  </a:lnTo>
                  <a:lnTo>
                    <a:pt x="46" y="92"/>
                  </a:lnTo>
                  <a:lnTo>
                    <a:pt x="48" y="92"/>
                  </a:lnTo>
                  <a:lnTo>
                    <a:pt x="50" y="92"/>
                  </a:lnTo>
                  <a:lnTo>
                    <a:pt x="51" y="92"/>
                  </a:lnTo>
                  <a:lnTo>
                    <a:pt x="52" y="92"/>
                  </a:lnTo>
                  <a:lnTo>
                    <a:pt x="52" y="93"/>
                  </a:lnTo>
                  <a:lnTo>
                    <a:pt x="53" y="94"/>
                  </a:lnTo>
                  <a:lnTo>
                    <a:pt x="52" y="97"/>
                  </a:lnTo>
                  <a:lnTo>
                    <a:pt x="52" y="100"/>
                  </a:lnTo>
                  <a:lnTo>
                    <a:pt x="53" y="101"/>
                  </a:lnTo>
                  <a:lnTo>
                    <a:pt x="54" y="102"/>
                  </a:lnTo>
                  <a:lnTo>
                    <a:pt x="56" y="102"/>
                  </a:lnTo>
                  <a:lnTo>
                    <a:pt x="58" y="102"/>
                  </a:lnTo>
                  <a:lnTo>
                    <a:pt x="60" y="101"/>
                  </a:lnTo>
                  <a:lnTo>
                    <a:pt x="63" y="100"/>
                  </a:lnTo>
                  <a:lnTo>
                    <a:pt x="65" y="99"/>
                  </a:lnTo>
                  <a:lnTo>
                    <a:pt x="67" y="100"/>
                  </a:lnTo>
                  <a:lnTo>
                    <a:pt x="71" y="100"/>
                  </a:lnTo>
                  <a:lnTo>
                    <a:pt x="73" y="100"/>
                  </a:lnTo>
                  <a:lnTo>
                    <a:pt x="75" y="100"/>
                  </a:lnTo>
                  <a:lnTo>
                    <a:pt x="76" y="100"/>
                  </a:lnTo>
                  <a:lnTo>
                    <a:pt x="77" y="101"/>
                  </a:lnTo>
                  <a:lnTo>
                    <a:pt x="77" y="102"/>
                  </a:lnTo>
                  <a:lnTo>
                    <a:pt x="75" y="104"/>
                  </a:lnTo>
                  <a:lnTo>
                    <a:pt x="74" y="105"/>
                  </a:lnTo>
                  <a:lnTo>
                    <a:pt x="73" y="106"/>
                  </a:lnTo>
                  <a:lnTo>
                    <a:pt x="85" y="111"/>
                  </a:lnTo>
                  <a:lnTo>
                    <a:pt x="84" y="111"/>
                  </a:lnTo>
                  <a:lnTo>
                    <a:pt x="84" y="110"/>
                  </a:lnTo>
                  <a:lnTo>
                    <a:pt x="86" y="110"/>
                  </a:lnTo>
                  <a:lnTo>
                    <a:pt x="90" y="109"/>
                  </a:lnTo>
                  <a:lnTo>
                    <a:pt x="90" y="115"/>
                  </a:lnTo>
                  <a:lnTo>
                    <a:pt x="83" y="114"/>
                  </a:lnTo>
                  <a:lnTo>
                    <a:pt x="77" y="113"/>
                  </a:lnTo>
                  <a:lnTo>
                    <a:pt x="77" y="114"/>
                  </a:lnTo>
                  <a:lnTo>
                    <a:pt x="75" y="115"/>
                  </a:lnTo>
                  <a:lnTo>
                    <a:pt x="73" y="117"/>
                  </a:lnTo>
                  <a:lnTo>
                    <a:pt x="81" y="117"/>
                  </a:lnTo>
                  <a:lnTo>
                    <a:pt x="83" y="125"/>
                  </a:lnTo>
                  <a:lnTo>
                    <a:pt x="81" y="121"/>
                  </a:lnTo>
                  <a:lnTo>
                    <a:pt x="73" y="127"/>
                  </a:lnTo>
                  <a:lnTo>
                    <a:pt x="70" y="127"/>
                  </a:lnTo>
                  <a:lnTo>
                    <a:pt x="66" y="126"/>
                  </a:lnTo>
                  <a:lnTo>
                    <a:pt x="59" y="125"/>
                  </a:lnTo>
                  <a:lnTo>
                    <a:pt x="48" y="121"/>
                  </a:lnTo>
                  <a:lnTo>
                    <a:pt x="49" y="120"/>
                  </a:lnTo>
                  <a:lnTo>
                    <a:pt x="50" y="118"/>
                  </a:lnTo>
                  <a:lnTo>
                    <a:pt x="50" y="116"/>
                  </a:lnTo>
                  <a:lnTo>
                    <a:pt x="50" y="114"/>
                  </a:lnTo>
                  <a:lnTo>
                    <a:pt x="49" y="110"/>
                  </a:lnTo>
                  <a:lnTo>
                    <a:pt x="48" y="108"/>
                  </a:lnTo>
                  <a:lnTo>
                    <a:pt x="36" y="111"/>
                  </a:lnTo>
                  <a:lnTo>
                    <a:pt x="25" y="115"/>
                  </a:lnTo>
                  <a:lnTo>
                    <a:pt x="25" y="123"/>
                  </a:lnTo>
                  <a:lnTo>
                    <a:pt x="23" y="123"/>
                  </a:lnTo>
                  <a:lnTo>
                    <a:pt x="22" y="123"/>
                  </a:lnTo>
                  <a:lnTo>
                    <a:pt x="19" y="122"/>
                  </a:lnTo>
                  <a:lnTo>
                    <a:pt x="17" y="121"/>
                  </a:lnTo>
                  <a:lnTo>
                    <a:pt x="15" y="121"/>
                  </a:lnTo>
                  <a:lnTo>
                    <a:pt x="14" y="121"/>
                  </a:lnTo>
                  <a:lnTo>
                    <a:pt x="10" y="122"/>
                  </a:lnTo>
                  <a:lnTo>
                    <a:pt x="7" y="125"/>
                  </a:lnTo>
                  <a:lnTo>
                    <a:pt x="0" y="131"/>
                  </a:lnTo>
                  <a:lnTo>
                    <a:pt x="2" y="134"/>
                  </a:lnTo>
                  <a:lnTo>
                    <a:pt x="8" y="135"/>
                  </a:lnTo>
                  <a:lnTo>
                    <a:pt x="15" y="135"/>
                  </a:lnTo>
                  <a:lnTo>
                    <a:pt x="18" y="136"/>
                  </a:lnTo>
                  <a:lnTo>
                    <a:pt x="18" y="137"/>
                  </a:lnTo>
                  <a:lnTo>
                    <a:pt x="16" y="138"/>
                  </a:lnTo>
                  <a:lnTo>
                    <a:pt x="12" y="140"/>
                  </a:lnTo>
                  <a:lnTo>
                    <a:pt x="14" y="144"/>
                  </a:lnTo>
                  <a:lnTo>
                    <a:pt x="15" y="145"/>
                  </a:lnTo>
                  <a:lnTo>
                    <a:pt x="17" y="146"/>
                  </a:lnTo>
                  <a:lnTo>
                    <a:pt x="18" y="148"/>
                  </a:lnTo>
                  <a:lnTo>
                    <a:pt x="18" y="149"/>
                  </a:lnTo>
                  <a:lnTo>
                    <a:pt x="18" y="151"/>
                  </a:lnTo>
                  <a:lnTo>
                    <a:pt x="19" y="152"/>
                  </a:lnTo>
                  <a:lnTo>
                    <a:pt x="24" y="154"/>
                  </a:lnTo>
                  <a:lnTo>
                    <a:pt x="28" y="155"/>
                  </a:lnTo>
                  <a:lnTo>
                    <a:pt x="34" y="155"/>
                  </a:lnTo>
                  <a:lnTo>
                    <a:pt x="39" y="154"/>
                  </a:lnTo>
                  <a:lnTo>
                    <a:pt x="50" y="152"/>
                  </a:lnTo>
                  <a:lnTo>
                    <a:pt x="60" y="150"/>
                  </a:lnTo>
                  <a:lnTo>
                    <a:pt x="62" y="154"/>
                  </a:lnTo>
                  <a:lnTo>
                    <a:pt x="63" y="155"/>
                  </a:lnTo>
                  <a:lnTo>
                    <a:pt x="64" y="156"/>
                  </a:lnTo>
                  <a:lnTo>
                    <a:pt x="65" y="157"/>
                  </a:lnTo>
                  <a:lnTo>
                    <a:pt x="67" y="155"/>
                  </a:lnTo>
                  <a:lnTo>
                    <a:pt x="69" y="152"/>
                  </a:lnTo>
                  <a:lnTo>
                    <a:pt x="72" y="151"/>
                  </a:lnTo>
                  <a:lnTo>
                    <a:pt x="75" y="150"/>
                  </a:lnTo>
                  <a:lnTo>
                    <a:pt x="81" y="151"/>
                  </a:lnTo>
                  <a:lnTo>
                    <a:pt x="86" y="151"/>
                  </a:lnTo>
                  <a:lnTo>
                    <a:pt x="90" y="152"/>
                  </a:lnTo>
                  <a:lnTo>
                    <a:pt x="88" y="162"/>
                  </a:lnTo>
                  <a:lnTo>
                    <a:pt x="88" y="167"/>
                  </a:lnTo>
                  <a:lnTo>
                    <a:pt x="88" y="175"/>
                  </a:lnTo>
                  <a:lnTo>
                    <a:pt x="83" y="178"/>
                  </a:lnTo>
                  <a:lnTo>
                    <a:pt x="80" y="180"/>
                  </a:lnTo>
                  <a:lnTo>
                    <a:pt x="77" y="180"/>
                  </a:lnTo>
                  <a:lnTo>
                    <a:pt x="76" y="180"/>
                  </a:lnTo>
                  <a:lnTo>
                    <a:pt x="75" y="180"/>
                  </a:lnTo>
                  <a:lnTo>
                    <a:pt x="75" y="179"/>
                  </a:lnTo>
                  <a:lnTo>
                    <a:pt x="75" y="178"/>
                  </a:lnTo>
                  <a:lnTo>
                    <a:pt x="73" y="179"/>
                  </a:lnTo>
                  <a:lnTo>
                    <a:pt x="71" y="180"/>
                  </a:lnTo>
                  <a:lnTo>
                    <a:pt x="69" y="182"/>
                  </a:lnTo>
                  <a:lnTo>
                    <a:pt x="65" y="186"/>
                  </a:lnTo>
                  <a:lnTo>
                    <a:pt x="63" y="186"/>
                  </a:lnTo>
                  <a:lnTo>
                    <a:pt x="61" y="186"/>
                  </a:lnTo>
                  <a:lnTo>
                    <a:pt x="58" y="186"/>
                  </a:lnTo>
                  <a:lnTo>
                    <a:pt x="56" y="186"/>
                  </a:lnTo>
                  <a:lnTo>
                    <a:pt x="54" y="183"/>
                  </a:lnTo>
                  <a:lnTo>
                    <a:pt x="52" y="180"/>
                  </a:lnTo>
                  <a:lnTo>
                    <a:pt x="50" y="180"/>
                  </a:lnTo>
                  <a:lnTo>
                    <a:pt x="49" y="181"/>
                  </a:lnTo>
                  <a:lnTo>
                    <a:pt x="48" y="181"/>
                  </a:lnTo>
                  <a:lnTo>
                    <a:pt x="46" y="180"/>
                  </a:lnTo>
                  <a:lnTo>
                    <a:pt x="42" y="186"/>
                  </a:lnTo>
                  <a:lnTo>
                    <a:pt x="39" y="189"/>
                  </a:lnTo>
                  <a:lnTo>
                    <a:pt x="39" y="190"/>
                  </a:lnTo>
                  <a:lnTo>
                    <a:pt x="40" y="190"/>
                  </a:lnTo>
                  <a:lnTo>
                    <a:pt x="46" y="190"/>
                  </a:lnTo>
                  <a:lnTo>
                    <a:pt x="46" y="196"/>
                  </a:lnTo>
                  <a:lnTo>
                    <a:pt x="40" y="194"/>
                  </a:lnTo>
                  <a:lnTo>
                    <a:pt x="40" y="195"/>
                  </a:lnTo>
                  <a:lnTo>
                    <a:pt x="39" y="197"/>
                  </a:lnTo>
                  <a:lnTo>
                    <a:pt x="39" y="199"/>
                  </a:lnTo>
                  <a:lnTo>
                    <a:pt x="39" y="200"/>
                  </a:lnTo>
                  <a:lnTo>
                    <a:pt x="36" y="201"/>
                  </a:lnTo>
                  <a:lnTo>
                    <a:pt x="33" y="202"/>
                  </a:lnTo>
                  <a:lnTo>
                    <a:pt x="31" y="203"/>
                  </a:lnTo>
                  <a:lnTo>
                    <a:pt x="29" y="205"/>
                  </a:lnTo>
                  <a:lnTo>
                    <a:pt x="29" y="207"/>
                  </a:lnTo>
                  <a:lnTo>
                    <a:pt x="29" y="208"/>
                  </a:lnTo>
                  <a:lnTo>
                    <a:pt x="29" y="210"/>
                  </a:lnTo>
                  <a:lnTo>
                    <a:pt x="29" y="211"/>
                  </a:lnTo>
                  <a:lnTo>
                    <a:pt x="28" y="212"/>
                  </a:lnTo>
                  <a:lnTo>
                    <a:pt x="26" y="213"/>
                  </a:lnTo>
                  <a:lnTo>
                    <a:pt x="24" y="214"/>
                  </a:lnTo>
                  <a:lnTo>
                    <a:pt x="23" y="215"/>
                  </a:lnTo>
                  <a:lnTo>
                    <a:pt x="30" y="221"/>
                  </a:lnTo>
                  <a:lnTo>
                    <a:pt x="35" y="224"/>
                  </a:lnTo>
                  <a:lnTo>
                    <a:pt x="42" y="226"/>
                  </a:lnTo>
                  <a:lnTo>
                    <a:pt x="52" y="227"/>
                  </a:lnTo>
                  <a:lnTo>
                    <a:pt x="48" y="234"/>
                  </a:lnTo>
                  <a:lnTo>
                    <a:pt x="47" y="233"/>
                  </a:lnTo>
                  <a:lnTo>
                    <a:pt x="45" y="231"/>
                  </a:lnTo>
                  <a:lnTo>
                    <a:pt x="44" y="229"/>
                  </a:lnTo>
                  <a:lnTo>
                    <a:pt x="42" y="228"/>
                  </a:lnTo>
                  <a:lnTo>
                    <a:pt x="39" y="228"/>
                  </a:lnTo>
                  <a:lnTo>
                    <a:pt x="37" y="229"/>
                  </a:lnTo>
                  <a:lnTo>
                    <a:pt x="36" y="230"/>
                  </a:lnTo>
                  <a:lnTo>
                    <a:pt x="36" y="231"/>
                  </a:lnTo>
                  <a:lnTo>
                    <a:pt x="37" y="231"/>
                  </a:lnTo>
                  <a:lnTo>
                    <a:pt x="39" y="232"/>
                  </a:lnTo>
                  <a:lnTo>
                    <a:pt x="39" y="236"/>
                  </a:lnTo>
                  <a:lnTo>
                    <a:pt x="44" y="236"/>
                  </a:lnTo>
                  <a:lnTo>
                    <a:pt x="45" y="237"/>
                  </a:lnTo>
                  <a:lnTo>
                    <a:pt x="45" y="238"/>
                  </a:lnTo>
                  <a:lnTo>
                    <a:pt x="43" y="240"/>
                  </a:lnTo>
                  <a:lnTo>
                    <a:pt x="42" y="242"/>
                  </a:lnTo>
                  <a:lnTo>
                    <a:pt x="42" y="244"/>
                  </a:lnTo>
                  <a:lnTo>
                    <a:pt x="45" y="247"/>
                  </a:lnTo>
                  <a:lnTo>
                    <a:pt x="48" y="252"/>
                  </a:lnTo>
                  <a:lnTo>
                    <a:pt x="51" y="251"/>
                  </a:lnTo>
                  <a:lnTo>
                    <a:pt x="53" y="252"/>
                  </a:lnTo>
                  <a:lnTo>
                    <a:pt x="58" y="252"/>
                  </a:lnTo>
                  <a:lnTo>
                    <a:pt x="61" y="251"/>
                  </a:lnTo>
                  <a:lnTo>
                    <a:pt x="63" y="250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5" y="243"/>
                  </a:lnTo>
                  <a:lnTo>
                    <a:pt x="65" y="241"/>
                  </a:lnTo>
                  <a:lnTo>
                    <a:pt x="65" y="240"/>
                  </a:lnTo>
                  <a:lnTo>
                    <a:pt x="69" y="241"/>
                  </a:lnTo>
                  <a:lnTo>
                    <a:pt x="70" y="242"/>
                  </a:lnTo>
                  <a:lnTo>
                    <a:pt x="70" y="243"/>
                  </a:lnTo>
                  <a:lnTo>
                    <a:pt x="69" y="244"/>
                  </a:lnTo>
                  <a:lnTo>
                    <a:pt x="69" y="243"/>
                  </a:lnTo>
                  <a:lnTo>
                    <a:pt x="69" y="244"/>
                  </a:lnTo>
                  <a:lnTo>
                    <a:pt x="69" y="248"/>
                  </a:lnTo>
                  <a:lnTo>
                    <a:pt x="69" y="250"/>
                  </a:lnTo>
                  <a:lnTo>
                    <a:pt x="71" y="253"/>
                  </a:lnTo>
                  <a:lnTo>
                    <a:pt x="73" y="256"/>
                  </a:lnTo>
                  <a:lnTo>
                    <a:pt x="75" y="259"/>
                  </a:lnTo>
                  <a:lnTo>
                    <a:pt x="75" y="260"/>
                  </a:lnTo>
                  <a:lnTo>
                    <a:pt x="74" y="261"/>
                  </a:lnTo>
                  <a:lnTo>
                    <a:pt x="74" y="262"/>
                  </a:lnTo>
                  <a:lnTo>
                    <a:pt x="73" y="263"/>
                  </a:lnTo>
                  <a:lnTo>
                    <a:pt x="73" y="265"/>
                  </a:lnTo>
                  <a:lnTo>
                    <a:pt x="72" y="265"/>
                  </a:lnTo>
                  <a:lnTo>
                    <a:pt x="73" y="265"/>
                  </a:lnTo>
                  <a:lnTo>
                    <a:pt x="74" y="266"/>
                  </a:lnTo>
                  <a:lnTo>
                    <a:pt x="77" y="267"/>
                  </a:lnTo>
                  <a:lnTo>
                    <a:pt x="75" y="276"/>
                  </a:lnTo>
                  <a:lnTo>
                    <a:pt x="78" y="276"/>
                  </a:lnTo>
                  <a:lnTo>
                    <a:pt x="81" y="275"/>
                  </a:lnTo>
                  <a:lnTo>
                    <a:pt x="83" y="273"/>
                  </a:lnTo>
                  <a:lnTo>
                    <a:pt x="85" y="271"/>
                  </a:lnTo>
                  <a:lnTo>
                    <a:pt x="87" y="269"/>
                  </a:lnTo>
                  <a:lnTo>
                    <a:pt x="89" y="267"/>
                  </a:lnTo>
                  <a:lnTo>
                    <a:pt x="91" y="266"/>
                  </a:lnTo>
                  <a:lnTo>
                    <a:pt x="94" y="265"/>
                  </a:lnTo>
                  <a:lnTo>
                    <a:pt x="96" y="266"/>
                  </a:lnTo>
                  <a:lnTo>
                    <a:pt x="97" y="268"/>
                  </a:lnTo>
                  <a:lnTo>
                    <a:pt x="97" y="270"/>
                  </a:lnTo>
                  <a:lnTo>
                    <a:pt x="98" y="271"/>
                  </a:lnTo>
                  <a:lnTo>
                    <a:pt x="100" y="271"/>
                  </a:lnTo>
                  <a:lnTo>
                    <a:pt x="101" y="271"/>
                  </a:lnTo>
                  <a:lnTo>
                    <a:pt x="102" y="270"/>
                  </a:lnTo>
                  <a:lnTo>
                    <a:pt x="102" y="269"/>
                  </a:lnTo>
                  <a:lnTo>
                    <a:pt x="103" y="269"/>
                  </a:lnTo>
                  <a:lnTo>
                    <a:pt x="104" y="268"/>
                  </a:lnTo>
                  <a:lnTo>
                    <a:pt x="106" y="269"/>
                  </a:lnTo>
                  <a:lnTo>
                    <a:pt x="111" y="278"/>
                  </a:lnTo>
                  <a:lnTo>
                    <a:pt x="113" y="277"/>
                  </a:lnTo>
                  <a:lnTo>
                    <a:pt x="113" y="276"/>
                  </a:lnTo>
                  <a:lnTo>
                    <a:pt x="113" y="273"/>
                  </a:lnTo>
                  <a:lnTo>
                    <a:pt x="120" y="274"/>
                  </a:lnTo>
                  <a:lnTo>
                    <a:pt x="123" y="275"/>
                  </a:lnTo>
                  <a:lnTo>
                    <a:pt x="125" y="275"/>
                  </a:lnTo>
                  <a:lnTo>
                    <a:pt x="128" y="274"/>
                  </a:lnTo>
                  <a:lnTo>
                    <a:pt x="131" y="273"/>
                  </a:lnTo>
                  <a:lnTo>
                    <a:pt x="138" y="269"/>
                  </a:lnTo>
                  <a:lnTo>
                    <a:pt x="137" y="272"/>
                  </a:lnTo>
                  <a:lnTo>
                    <a:pt x="137" y="275"/>
                  </a:lnTo>
                  <a:lnTo>
                    <a:pt x="136" y="277"/>
                  </a:lnTo>
                  <a:lnTo>
                    <a:pt x="134" y="280"/>
                  </a:lnTo>
                  <a:lnTo>
                    <a:pt x="130" y="284"/>
                  </a:lnTo>
                  <a:lnTo>
                    <a:pt x="127" y="287"/>
                  </a:lnTo>
                  <a:lnTo>
                    <a:pt x="126" y="289"/>
                  </a:lnTo>
                  <a:lnTo>
                    <a:pt x="125" y="290"/>
                  </a:lnTo>
                  <a:lnTo>
                    <a:pt x="124" y="293"/>
                  </a:lnTo>
                  <a:lnTo>
                    <a:pt x="125" y="296"/>
                  </a:lnTo>
                  <a:lnTo>
                    <a:pt x="125" y="299"/>
                  </a:lnTo>
                  <a:lnTo>
                    <a:pt x="125" y="301"/>
                  </a:lnTo>
                  <a:lnTo>
                    <a:pt x="117" y="313"/>
                  </a:lnTo>
                  <a:lnTo>
                    <a:pt x="115" y="315"/>
                  </a:lnTo>
                  <a:lnTo>
                    <a:pt x="113" y="317"/>
                  </a:lnTo>
                  <a:lnTo>
                    <a:pt x="106" y="321"/>
                  </a:lnTo>
                  <a:lnTo>
                    <a:pt x="94" y="326"/>
                  </a:lnTo>
                  <a:lnTo>
                    <a:pt x="94" y="330"/>
                  </a:lnTo>
                  <a:lnTo>
                    <a:pt x="94" y="334"/>
                  </a:lnTo>
                  <a:lnTo>
                    <a:pt x="91" y="334"/>
                  </a:lnTo>
                  <a:lnTo>
                    <a:pt x="90" y="335"/>
                  </a:lnTo>
                  <a:lnTo>
                    <a:pt x="87" y="336"/>
                  </a:lnTo>
                  <a:lnTo>
                    <a:pt x="88" y="336"/>
                  </a:lnTo>
                  <a:lnTo>
                    <a:pt x="88" y="335"/>
                  </a:lnTo>
                  <a:lnTo>
                    <a:pt x="87" y="334"/>
                  </a:lnTo>
                  <a:lnTo>
                    <a:pt x="85" y="334"/>
                  </a:lnTo>
                  <a:lnTo>
                    <a:pt x="83" y="333"/>
                  </a:lnTo>
                  <a:lnTo>
                    <a:pt x="80" y="333"/>
                  </a:lnTo>
                  <a:lnTo>
                    <a:pt x="78" y="333"/>
                  </a:lnTo>
                  <a:lnTo>
                    <a:pt x="75" y="334"/>
                  </a:lnTo>
                  <a:lnTo>
                    <a:pt x="73" y="337"/>
                  </a:lnTo>
                  <a:lnTo>
                    <a:pt x="69" y="342"/>
                  </a:lnTo>
                  <a:lnTo>
                    <a:pt x="65" y="349"/>
                  </a:lnTo>
                  <a:lnTo>
                    <a:pt x="64" y="350"/>
                  </a:lnTo>
                  <a:lnTo>
                    <a:pt x="63" y="350"/>
                  </a:lnTo>
                  <a:lnTo>
                    <a:pt x="61" y="349"/>
                  </a:lnTo>
                  <a:lnTo>
                    <a:pt x="60" y="349"/>
                  </a:lnTo>
                  <a:lnTo>
                    <a:pt x="58" y="351"/>
                  </a:lnTo>
                  <a:lnTo>
                    <a:pt x="58" y="355"/>
                  </a:lnTo>
                  <a:lnTo>
                    <a:pt x="64" y="353"/>
                  </a:lnTo>
                  <a:lnTo>
                    <a:pt x="67" y="352"/>
                  </a:lnTo>
                  <a:lnTo>
                    <a:pt x="69" y="351"/>
                  </a:lnTo>
                  <a:lnTo>
                    <a:pt x="71" y="349"/>
                  </a:lnTo>
                  <a:lnTo>
                    <a:pt x="72" y="347"/>
                  </a:lnTo>
                  <a:lnTo>
                    <a:pt x="77" y="338"/>
                  </a:lnTo>
                  <a:lnTo>
                    <a:pt x="80" y="338"/>
                  </a:lnTo>
                  <a:lnTo>
                    <a:pt x="83" y="338"/>
                  </a:lnTo>
                  <a:lnTo>
                    <a:pt x="81" y="341"/>
                  </a:lnTo>
                  <a:lnTo>
                    <a:pt x="80" y="343"/>
                  </a:lnTo>
                  <a:lnTo>
                    <a:pt x="81" y="344"/>
                  </a:lnTo>
                  <a:lnTo>
                    <a:pt x="84" y="344"/>
                  </a:lnTo>
                  <a:lnTo>
                    <a:pt x="87" y="343"/>
                  </a:lnTo>
                  <a:lnTo>
                    <a:pt x="90" y="342"/>
                  </a:lnTo>
                  <a:lnTo>
                    <a:pt x="93" y="340"/>
                  </a:lnTo>
                  <a:lnTo>
                    <a:pt x="99" y="336"/>
                  </a:lnTo>
                  <a:lnTo>
                    <a:pt x="101" y="335"/>
                  </a:lnTo>
                  <a:lnTo>
                    <a:pt x="104" y="334"/>
                  </a:lnTo>
                  <a:lnTo>
                    <a:pt x="105" y="334"/>
                  </a:lnTo>
                  <a:lnTo>
                    <a:pt x="106" y="335"/>
                  </a:lnTo>
                  <a:lnTo>
                    <a:pt x="106" y="336"/>
                  </a:lnTo>
                  <a:lnTo>
                    <a:pt x="108" y="336"/>
                  </a:lnTo>
                  <a:lnTo>
                    <a:pt x="110" y="330"/>
                  </a:lnTo>
                  <a:lnTo>
                    <a:pt x="111" y="330"/>
                  </a:lnTo>
                  <a:lnTo>
                    <a:pt x="112" y="332"/>
                  </a:lnTo>
                  <a:lnTo>
                    <a:pt x="112" y="333"/>
                  </a:lnTo>
                  <a:lnTo>
                    <a:pt x="113" y="333"/>
                  </a:lnTo>
                  <a:lnTo>
                    <a:pt x="113" y="332"/>
                  </a:lnTo>
                  <a:lnTo>
                    <a:pt x="114" y="328"/>
                  </a:lnTo>
                  <a:lnTo>
                    <a:pt x="113" y="324"/>
                  </a:lnTo>
                  <a:lnTo>
                    <a:pt x="117" y="324"/>
                  </a:lnTo>
                  <a:lnTo>
                    <a:pt x="120" y="323"/>
                  </a:lnTo>
                  <a:lnTo>
                    <a:pt x="121" y="323"/>
                  </a:lnTo>
                  <a:lnTo>
                    <a:pt x="120" y="321"/>
                  </a:lnTo>
                  <a:lnTo>
                    <a:pt x="119" y="319"/>
                  </a:lnTo>
                  <a:lnTo>
                    <a:pt x="121" y="318"/>
                  </a:lnTo>
                  <a:lnTo>
                    <a:pt x="122" y="319"/>
                  </a:lnTo>
                  <a:lnTo>
                    <a:pt x="123" y="319"/>
                  </a:lnTo>
                  <a:lnTo>
                    <a:pt x="125" y="319"/>
                  </a:lnTo>
                  <a:lnTo>
                    <a:pt x="128" y="317"/>
                  </a:lnTo>
                  <a:lnTo>
                    <a:pt x="132" y="314"/>
                  </a:lnTo>
                  <a:lnTo>
                    <a:pt x="138" y="309"/>
                  </a:lnTo>
                  <a:lnTo>
                    <a:pt x="136" y="303"/>
                  </a:lnTo>
                  <a:lnTo>
                    <a:pt x="137" y="303"/>
                  </a:lnTo>
                  <a:lnTo>
                    <a:pt x="138" y="302"/>
                  </a:lnTo>
                  <a:lnTo>
                    <a:pt x="141" y="301"/>
                  </a:lnTo>
                  <a:lnTo>
                    <a:pt x="144" y="301"/>
                  </a:lnTo>
                  <a:lnTo>
                    <a:pt x="146" y="300"/>
                  </a:lnTo>
                  <a:lnTo>
                    <a:pt x="149" y="297"/>
                  </a:lnTo>
                  <a:lnTo>
                    <a:pt x="152" y="293"/>
                  </a:lnTo>
                  <a:lnTo>
                    <a:pt x="155" y="289"/>
                  </a:lnTo>
                  <a:lnTo>
                    <a:pt x="158" y="286"/>
                  </a:lnTo>
                  <a:lnTo>
                    <a:pt x="160" y="285"/>
                  </a:lnTo>
                  <a:lnTo>
                    <a:pt x="162" y="285"/>
                  </a:lnTo>
                  <a:lnTo>
                    <a:pt x="165" y="285"/>
                  </a:lnTo>
                  <a:lnTo>
                    <a:pt x="167" y="284"/>
                  </a:lnTo>
                  <a:lnTo>
                    <a:pt x="167" y="283"/>
                  </a:lnTo>
                  <a:lnTo>
                    <a:pt x="167" y="281"/>
                  </a:lnTo>
                  <a:lnTo>
                    <a:pt x="167" y="278"/>
                  </a:lnTo>
                  <a:lnTo>
                    <a:pt x="168" y="277"/>
                  </a:lnTo>
                  <a:lnTo>
                    <a:pt x="169" y="276"/>
                  </a:lnTo>
                  <a:lnTo>
                    <a:pt x="171" y="275"/>
                  </a:lnTo>
                  <a:lnTo>
                    <a:pt x="174" y="274"/>
                  </a:lnTo>
                  <a:lnTo>
                    <a:pt x="177" y="273"/>
                  </a:lnTo>
                  <a:lnTo>
                    <a:pt x="177" y="269"/>
                  </a:lnTo>
                  <a:lnTo>
                    <a:pt x="175" y="268"/>
                  </a:lnTo>
                  <a:lnTo>
                    <a:pt x="172" y="268"/>
                  </a:lnTo>
                  <a:lnTo>
                    <a:pt x="167" y="269"/>
                  </a:lnTo>
                  <a:lnTo>
                    <a:pt x="170" y="260"/>
                  </a:lnTo>
                  <a:lnTo>
                    <a:pt x="171" y="257"/>
                  </a:lnTo>
                  <a:lnTo>
                    <a:pt x="173" y="255"/>
                  </a:lnTo>
                  <a:lnTo>
                    <a:pt x="175" y="253"/>
                  </a:lnTo>
                  <a:lnTo>
                    <a:pt x="177" y="251"/>
                  </a:lnTo>
                  <a:lnTo>
                    <a:pt x="180" y="250"/>
                  </a:lnTo>
                  <a:lnTo>
                    <a:pt x="184" y="248"/>
                  </a:lnTo>
                  <a:lnTo>
                    <a:pt x="184" y="246"/>
                  </a:lnTo>
                  <a:lnTo>
                    <a:pt x="183" y="245"/>
                  </a:lnTo>
                  <a:lnTo>
                    <a:pt x="182" y="244"/>
                  </a:lnTo>
                  <a:lnTo>
                    <a:pt x="182" y="243"/>
                  </a:lnTo>
                  <a:lnTo>
                    <a:pt x="182" y="242"/>
                  </a:lnTo>
                  <a:lnTo>
                    <a:pt x="186" y="242"/>
                  </a:lnTo>
                  <a:lnTo>
                    <a:pt x="188" y="242"/>
                  </a:lnTo>
                  <a:lnTo>
                    <a:pt x="190" y="242"/>
                  </a:lnTo>
                  <a:lnTo>
                    <a:pt x="191" y="239"/>
                  </a:lnTo>
                  <a:lnTo>
                    <a:pt x="191" y="237"/>
                  </a:lnTo>
                  <a:lnTo>
                    <a:pt x="191" y="236"/>
                  </a:lnTo>
                  <a:lnTo>
                    <a:pt x="192" y="234"/>
                  </a:lnTo>
                  <a:lnTo>
                    <a:pt x="194" y="234"/>
                  </a:lnTo>
                  <a:lnTo>
                    <a:pt x="196" y="233"/>
                  </a:lnTo>
                  <a:lnTo>
                    <a:pt x="198" y="233"/>
                  </a:lnTo>
                  <a:lnTo>
                    <a:pt x="200" y="232"/>
                  </a:lnTo>
                  <a:lnTo>
                    <a:pt x="201" y="231"/>
                  </a:lnTo>
                  <a:lnTo>
                    <a:pt x="201" y="229"/>
                  </a:lnTo>
                  <a:lnTo>
                    <a:pt x="201" y="227"/>
                  </a:lnTo>
                  <a:lnTo>
                    <a:pt x="202" y="225"/>
                  </a:lnTo>
                  <a:lnTo>
                    <a:pt x="211" y="217"/>
                  </a:lnTo>
                  <a:lnTo>
                    <a:pt x="213" y="217"/>
                  </a:lnTo>
                  <a:lnTo>
                    <a:pt x="214" y="217"/>
                  </a:lnTo>
                  <a:lnTo>
                    <a:pt x="215" y="218"/>
                  </a:lnTo>
                  <a:lnTo>
                    <a:pt x="215" y="220"/>
                  </a:lnTo>
                  <a:lnTo>
                    <a:pt x="216" y="220"/>
                  </a:lnTo>
                  <a:lnTo>
                    <a:pt x="217" y="221"/>
                  </a:lnTo>
                  <a:lnTo>
                    <a:pt x="223" y="217"/>
                  </a:lnTo>
                  <a:lnTo>
                    <a:pt x="225" y="217"/>
                  </a:lnTo>
                  <a:lnTo>
                    <a:pt x="226" y="217"/>
                  </a:lnTo>
                  <a:lnTo>
                    <a:pt x="226" y="218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3" y="225"/>
                  </a:lnTo>
                  <a:lnTo>
                    <a:pt x="225" y="225"/>
                  </a:lnTo>
                  <a:lnTo>
                    <a:pt x="226" y="225"/>
                  </a:lnTo>
                  <a:lnTo>
                    <a:pt x="226" y="226"/>
                  </a:lnTo>
                  <a:lnTo>
                    <a:pt x="226" y="227"/>
                  </a:lnTo>
                  <a:lnTo>
                    <a:pt x="226" y="228"/>
                  </a:lnTo>
                  <a:lnTo>
                    <a:pt x="227" y="228"/>
                  </a:lnTo>
                  <a:lnTo>
                    <a:pt x="225" y="228"/>
                  </a:lnTo>
                  <a:lnTo>
                    <a:pt x="223" y="228"/>
                  </a:lnTo>
                  <a:lnTo>
                    <a:pt x="220" y="227"/>
                  </a:lnTo>
                  <a:lnTo>
                    <a:pt x="217" y="226"/>
                  </a:lnTo>
                  <a:lnTo>
                    <a:pt x="213" y="227"/>
                  </a:lnTo>
                  <a:lnTo>
                    <a:pt x="210" y="229"/>
                  </a:lnTo>
                  <a:lnTo>
                    <a:pt x="207" y="232"/>
                  </a:lnTo>
                  <a:lnTo>
                    <a:pt x="204" y="232"/>
                  </a:lnTo>
                  <a:lnTo>
                    <a:pt x="203" y="236"/>
                  </a:lnTo>
                  <a:lnTo>
                    <a:pt x="202" y="243"/>
                  </a:lnTo>
                  <a:lnTo>
                    <a:pt x="200" y="255"/>
                  </a:lnTo>
                  <a:lnTo>
                    <a:pt x="203" y="255"/>
                  </a:lnTo>
                  <a:lnTo>
                    <a:pt x="206" y="255"/>
                  </a:lnTo>
                  <a:lnTo>
                    <a:pt x="206" y="259"/>
                  </a:lnTo>
                  <a:lnTo>
                    <a:pt x="202" y="261"/>
                  </a:lnTo>
                  <a:lnTo>
                    <a:pt x="198" y="263"/>
                  </a:lnTo>
                  <a:lnTo>
                    <a:pt x="200" y="265"/>
                  </a:lnTo>
                  <a:lnTo>
                    <a:pt x="202" y="266"/>
                  </a:lnTo>
                  <a:lnTo>
                    <a:pt x="202" y="267"/>
                  </a:lnTo>
                  <a:lnTo>
                    <a:pt x="209" y="264"/>
                  </a:lnTo>
                  <a:lnTo>
                    <a:pt x="217" y="261"/>
                  </a:lnTo>
                  <a:lnTo>
                    <a:pt x="217" y="257"/>
                  </a:lnTo>
                  <a:lnTo>
                    <a:pt x="219" y="257"/>
                  </a:lnTo>
                  <a:lnTo>
                    <a:pt x="221" y="256"/>
                  </a:lnTo>
                  <a:lnTo>
                    <a:pt x="223" y="256"/>
                  </a:lnTo>
                  <a:lnTo>
                    <a:pt x="225" y="255"/>
                  </a:lnTo>
                  <a:lnTo>
                    <a:pt x="226" y="253"/>
                  </a:lnTo>
                  <a:lnTo>
                    <a:pt x="227" y="250"/>
                  </a:lnTo>
                  <a:lnTo>
                    <a:pt x="228" y="247"/>
                  </a:lnTo>
                  <a:lnTo>
                    <a:pt x="229" y="246"/>
                  </a:lnTo>
                  <a:lnTo>
                    <a:pt x="230" y="246"/>
                  </a:lnTo>
                  <a:lnTo>
                    <a:pt x="232" y="246"/>
                  </a:lnTo>
                  <a:lnTo>
                    <a:pt x="234" y="246"/>
                  </a:lnTo>
                  <a:lnTo>
                    <a:pt x="237" y="247"/>
                  </a:lnTo>
                  <a:lnTo>
                    <a:pt x="241" y="249"/>
                  </a:lnTo>
                  <a:lnTo>
                    <a:pt x="242" y="250"/>
                  </a:lnTo>
                  <a:lnTo>
                    <a:pt x="244" y="250"/>
                  </a:lnTo>
                  <a:lnTo>
                    <a:pt x="246" y="247"/>
                  </a:lnTo>
                  <a:lnTo>
                    <a:pt x="248" y="245"/>
                  </a:lnTo>
                  <a:lnTo>
                    <a:pt x="250" y="244"/>
                  </a:lnTo>
                  <a:lnTo>
                    <a:pt x="249" y="242"/>
                  </a:lnTo>
                  <a:lnTo>
                    <a:pt x="248" y="238"/>
                  </a:lnTo>
                  <a:lnTo>
                    <a:pt x="248" y="235"/>
                  </a:lnTo>
                  <a:lnTo>
                    <a:pt x="248" y="236"/>
                  </a:lnTo>
                  <a:lnTo>
                    <a:pt x="242" y="234"/>
                  </a:lnTo>
                  <a:lnTo>
                    <a:pt x="242" y="229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8" y="226"/>
                  </a:lnTo>
                  <a:lnTo>
                    <a:pt x="254" y="227"/>
                  </a:lnTo>
                  <a:lnTo>
                    <a:pt x="256" y="227"/>
                  </a:lnTo>
                  <a:lnTo>
                    <a:pt x="259" y="227"/>
                  </a:lnTo>
                  <a:lnTo>
                    <a:pt x="261" y="226"/>
                  </a:lnTo>
                  <a:lnTo>
                    <a:pt x="263" y="225"/>
                  </a:lnTo>
                  <a:lnTo>
                    <a:pt x="264" y="223"/>
                  </a:lnTo>
                  <a:lnTo>
                    <a:pt x="263" y="223"/>
                  </a:lnTo>
                  <a:lnTo>
                    <a:pt x="263" y="222"/>
                  </a:lnTo>
                  <a:lnTo>
                    <a:pt x="265" y="223"/>
                  </a:lnTo>
                  <a:lnTo>
                    <a:pt x="265" y="228"/>
                  </a:lnTo>
                  <a:lnTo>
                    <a:pt x="269" y="230"/>
                  </a:lnTo>
                  <a:lnTo>
                    <a:pt x="268" y="230"/>
                  </a:lnTo>
                  <a:lnTo>
                    <a:pt x="265" y="230"/>
                  </a:lnTo>
                  <a:lnTo>
                    <a:pt x="275" y="234"/>
                  </a:lnTo>
                  <a:lnTo>
                    <a:pt x="274" y="235"/>
                  </a:lnTo>
                  <a:lnTo>
                    <a:pt x="274" y="236"/>
                  </a:lnTo>
                  <a:lnTo>
                    <a:pt x="273" y="238"/>
                  </a:lnTo>
                  <a:lnTo>
                    <a:pt x="274" y="241"/>
                  </a:lnTo>
                  <a:lnTo>
                    <a:pt x="275" y="242"/>
                  </a:lnTo>
                  <a:lnTo>
                    <a:pt x="276" y="242"/>
                  </a:lnTo>
                  <a:lnTo>
                    <a:pt x="277" y="242"/>
                  </a:lnTo>
                  <a:lnTo>
                    <a:pt x="280" y="241"/>
                  </a:lnTo>
                  <a:lnTo>
                    <a:pt x="282" y="240"/>
                  </a:lnTo>
                  <a:lnTo>
                    <a:pt x="283" y="240"/>
                  </a:lnTo>
                  <a:lnTo>
                    <a:pt x="284" y="240"/>
                  </a:lnTo>
                  <a:lnTo>
                    <a:pt x="285" y="243"/>
                  </a:lnTo>
                  <a:lnTo>
                    <a:pt x="286" y="246"/>
                  </a:lnTo>
                  <a:lnTo>
                    <a:pt x="289" y="247"/>
                  </a:lnTo>
                  <a:lnTo>
                    <a:pt x="291" y="247"/>
                  </a:lnTo>
                  <a:lnTo>
                    <a:pt x="293" y="247"/>
                  </a:lnTo>
                  <a:lnTo>
                    <a:pt x="296" y="248"/>
                  </a:lnTo>
                  <a:lnTo>
                    <a:pt x="296" y="250"/>
                  </a:lnTo>
                  <a:lnTo>
                    <a:pt x="299" y="250"/>
                  </a:lnTo>
                  <a:lnTo>
                    <a:pt x="302" y="250"/>
                  </a:lnTo>
                  <a:lnTo>
                    <a:pt x="307" y="249"/>
                  </a:lnTo>
                  <a:lnTo>
                    <a:pt x="312" y="248"/>
                  </a:lnTo>
                  <a:lnTo>
                    <a:pt x="319" y="248"/>
                  </a:lnTo>
                  <a:lnTo>
                    <a:pt x="322" y="249"/>
                  </a:lnTo>
                  <a:lnTo>
                    <a:pt x="327" y="250"/>
                  </a:lnTo>
                  <a:lnTo>
                    <a:pt x="336" y="255"/>
                  </a:lnTo>
                  <a:lnTo>
                    <a:pt x="341" y="257"/>
                  </a:lnTo>
                  <a:lnTo>
                    <a:pt x="346" y="259"/>
                  </a:lnTo>
                  <a:lnTo>
                    <a:pt x="351" y="260"/>
                  </a:lnTo>
                  <a:lnTo>
                    <a:pt x="353" y="260"/>
                  </a:lnTo>
                  <a:lnTo>
                    <a:pt x="355" y="259"/>
                  </a:lnTo>
                  <a:lnTo>
                    <a:pt x="357" y="257"/>
                  </a:lnTo>
                  <a:lnTo>
                    <a:pt x="358" y="256"/>
                  </a:lnTo>
                  <a:lnTo>
                    <a:pt x="359" y="255"/>
                  </a:lnTo>
                  <a:lnTo>
                    <a:pt x="357" y="265"/>
                  </a:lnTo>
                  <a:lnTo>
                    <a:pt x="360" y="266"/>
                  </a:lnTo>
                  <a:lnTo>
                    <a:pt x="364" y="268"/>
                  </a:lnTo>
                  <a:lnTo>
                    <a:pt x="368" y="270"/>
                  </a:lnTo>
                  <a:lnTo>
                    <a:pt x="370" y="271"/>
                  </a:lnTo>
                  <a:lnTo>
                    <a:pt x="371" y="271"/>
                  </a:lnTo>
                  <a:lnTo>
                    <a:pt x="371" y="265"/>
                  </a:lnTo>
                  <a:lnTo>
                    <a:pt x="373" y="265"/>
                  </a:lnTo>
                  <a:lnTo>
                    <a:pt x="376" y="265"/>
                  </a:lnTo>
                  <a:lnTo>
                    <a:pt x="376" y="267"/>
                  </a:lnTo>
                  <a:lnTo>
                    <a:pt x="375" y="270"/>
                  </a:lnTo>
                  <a:lnTo>
                    <a:pt x="374" y="273"/>
                  </a:lnTo>
                  <a:lnTo>
                    <a:pt x="374" y="276"/>
                  </a:lnTo>
                  <a:lnTo>
                    <a:pt x="378" y="276"/>
                  </a:lnTo>
                  <a:lnTo>
                    <a:pt x="386" y="288"/>
                  </a:lnTo>
                  <a:lnTo>
                    <a:pt x="388" y="286"/>
                  </a:lnTo>
                  <a:lnTo>
                    <a:pt x="390" y="286"/>
                  </a:lnTo>
                  <a:lnTo>
                    <a:pt x="391" y="286"/>
                  </a:lnTo>
                  <a:lnTo>
                    <a:pt x="392" y="286"/>
                  </a:lnTo>
                  <a:lnTo>
                    <a:pt x="392" y="292"/>
                  </a:lnTo>
                  <a:lnTo>
                    <a:pt x="395" y="293"/>
                  </a:lnTo>
                  <a:lnTo>
                    <a:pt x="396" y="293"/>
                  </a:lnTo>
                  <a:lnTo>
                    <a:pt x="397" y="294"/>
                  </a:lnTo>
                  <a:lnTo>
                    <a:pt x="396" y="296"/>
                  </a:lnTo>
                  <a:lnTo>
                    <a:pt x="395" y="297"/>
                  </a:lnTo>
                  <a:lnTo>
                    <a:pt x="396" y="298"/>
                  </a:lnTo>
                  <a:lnTo>
                    <a:pt x="397" y="297"/>
                  </a:lnTo>
                  <a:lnTo>
                    <a:pt x="399" y="296"/>
                  </a:lnTo>
                  <a:lnTo>
                    <a:pt x="400" y="297"/>
                  </a:lnTo>
                  <a:lnTo>
                    <a:pt x="399" y="299"/>
                  </a:lnTo>
                  <a:lnTo>
                    <a:pt x="399" y="302"/>
                  </a:lnTo>
                  <a:lnTo>
                    <a:pt x="399" y="303"/>
                  </a:lnTo>
                  <a:lnTo>
                    <a:pt x="409" y="309"/>
                  </a:lnTo>
                  <a:lnTo>
                    <a:pt x="409" y="310"/>
                  </a:lnTo>
                  <a:lnTo>
                    <a:pt x="409" y="312"/>
                  </a:lnTo>
                  <a:lnTo>
                    <a:pt x="409" y="313"/>
                  </a:lnTo>
                  <a:lnTo>
                    <a:pt x="409" y="315"/>
                  </a:lnTo>
                  <a:lnTo>
                    <a:pt x="411" y="318"/>
                  </a:lnTo>
                  <a:lnTo>
                    <a:pt x="413" y="321"/>
                  </a:lnTo>
                  <a:lnTo>
                    <a:pt x="419" y="328"/>
                  </a:lnTo>
                  <a:lnTo>
                    <a:pt x="420" y="328"/>
                  </a:lnTo>
                  <a:lnTo>
                    <a:pt x="420" y="329"/>
                  </a:lnTo>
                  <a:lnTo>
                    <a:pt x="421" y="330"/>
                  </a:lnTo>
                  <a:lnTo>
                    <a:pt x="422" y="331"/>
                  </a:lnTo>
                  <a:lnTo>
                    <a:pt x="422" y="332"/>
                  </a:lnTo>
                  <a:lnTo>
                    <a:pt x="424" y="332"/>
                  </a:lnTo>
                  <a:lnTo>
                    <a:pt x="425" y="330"/>
                  </a:lnTo>
                  <a:lnTo>
                    <a:pt x="424" y="328"/>
                  </a:lnTo>
                  <a:lnTo>
                    <a:pt x="424" y="326"/>
                  </a:lnTo>
                  <a:lnTo>
                    <a:pt x="427" y="328"/>
                  </a:lnTo>
                  <a:lnTo>
                    <a:pt x="430" y="330"/>
                  </a:lnTo>
                  <a:lnTo>
                    <a:pt x="429" y="332"/>
                  </a:lnTo>
                  <a:lnTo>
                    <a:pt x="428" y="333"/>
                  </a:lnTo>
                  <a:lnTo>
                    <a:pt x="428" y="334"/>
                  </a:lnTo>
                  <a:lnTo>
                    <a:pt x="429" y="335"/>
                  </a:lnTo>
                  <a:lnTo>
                    <a:pt x="431" y="335"/>
                  </a:lnTo>
                  <a:lnTo>
                    <a:pt x="434" y="336"/>
                  </a:lnTo>
                  <a:lnTo>
                    <a:pt x="432" y="328"/>
                  </a:lnTo>
                  <a:lnTo>
                    <a:pt x="434" y="327"/>
                  </a:lnTo>
                  <a:lnTo>
                    <a:pt x="434" y="328"/>
                  </a:lnTo>
                  <a:lnTo>
                    <a:pt x="434" y="329"/>
                  </a:lnTo>
                  <a:lnTo>
                    <a:pt x="434" y="330"/>
                  </a:lnTo>
                  <a:lnTo>
                    <a:pt x="438" y="330"/>
                  </a:lnTo>
                  <a:lnTo>
                    <a:pt x="438" y="325"/>
                  </a:lnTo>
                  <a:lnTo>
                    <a:pt x="439" y="322"/>
                  </a:lnTo>
                  <a:lnTo>
                    <a:pt x="440" y="319"/>
                  </a:lnTo>
                  <a:lnTo>
                    <a:pt x="436" y="319"/>
                  </a:lnTo>
                  <a:lnTo>
                    <a:pt x="437" y="318"/>
                  </a:lnTo>
                  <a:lnTo>
                    <a:pt x="436" y="318"/>
                  </a:lnTo>
                  <a:lnTo>
                    <a:pt x="434" y="317"/>
                  </a:lnTo>
                  <a:lnTo>
                    <a:pt x="430" y="317"/>
                  </a:lnTo>
                  <a:lnTo>
                    <a:pt x="430" y="324"/>
                  </a:lnTo>
                  <a:lnTo>
                    <a:pt x="426" y="324"/>
                  </a:lnTo>
                  <a:lnTo>
                    <a:pt x="422" y="323"/>
                  </a:lnTo>
                  <a:lnTo>
                    <a:pt x="422" y="321"/>
                  </a:lnTo>
                  <a:lnTo>
                    <a:pt x="421" y="318"/>
                  </a:lnTo>
                  <a:lnTo>
                    <a:pt x="421" y="315"/>
                  </a:lnTo>
                  <a:lnTo>
                    <a:pt x="421" y="314"/>
                  </a:lnTo>
                  <a:lnTo>
                    <a:pt x="421" y="313"/>
                  </a:lnTo>
                  <a:lnTo>
                    <a:pt x="415" y="311"/>
                  </a:lnTo>
                  <a:lnTo>
                    <a:pt x="421" y="307"/>
                  </a:lnTo>
                  <a:lnTo>
                    <a:pt x="419" y="301"/>
                  </a:lnTo>
                  <a:lnTo>
                    <a:pt x="415" y="301"/>
                  </a:lnTo>
                  <a:lnTo>
                    <a:pt x="415" y="300"/>
                  </a:lnTo>
                  <a:lnTo>
                    <a:pt x="415" y="298"/>
                  </a:lnTo>
                  <a:lnTo>
                    <a:pt x="415" y="297"/>
                  </a:lnTo>
                  <a:lnTo>
                    <a:pt x="415" y="296"/>
                  </a:lnTo>
                  <a:lnTo>
                    <a:pt x="411" y="294"/>
                  </a:lnTo>
                  <a:lnTo>
                    <a:pt x="407" y="293"/>
                  </a:lnTo>
                  <a:lnTo>
                    <a:pt x="402" y="293"/>
                  </a:lnTo>
                  <a:lnTo>
                    <a:pt x="399" y="292"/>
                  </a:lnTo>
                  <a:lnTo>
                    <a:pt x="401" y="292"/>
                  </a:lnTo>
                  <a:lnTo>
                    <a:pt x="404" y="291"/>
                  </a:lnTo>
                  <a:lnTo>
                    <a:pt x="407" y="290"/>
                  </a:lnTo>
                  <a:lnTo>
                    <a:pt x="413" y="288"/>
                  </a:lnTo>
                  <a:lnTo>
                    <a:pt x="413" y="290"/>
                  </a:lnTo>
                  <a:lnTo>
                    <a:pt x="413" y="291"/>
                  </a:lnTo>
                  <a:lnTo>
                    <a:pt x="413" y="292"/>
                  </a:lnTo>
                  <a:lnTo>
                    <a:pt x="415" y="292"/>
                  </a:lnTo>
                  <a:lnTo>
                    <a:pt x="414" y="291"/>
                  </a:lnTo>
                  <a:lnTo>
                    <a:pt x="414" y="289"/>
                  </a:lnTo>
                  <a:lnTo>
                    <a:pt x="413" y="285"/>
                  </a:lnTo>
                  <a:lnTo>
                    <a:pt x="414" y="281"/>
                  </a:lnTo>
                  <a:lnTo>
                    <a:pt x="414" y="279"/>
                  </a:lnTo>
                  <a:lnTo>
                    <a:pt x="415" y="278"/>
                  </a:lnTo>
                  <a:lnTo>
                    <a:pt x="416" y="281"/>
                  </a:lnTo>
                  <a:lnTo>
                    <a:pt x="419" y="284"/>
                  </a:lnTo>
                  <a:lnTo>
                    <a:pt x="422" y="290"/>
                  </a:lnTo>
                  <a:lnTo>
                    <a:pt x="425" y="290"/>
                  </a:lnTo>
                  <a:lnTo>
                    <a:pt x="428" y="290"/>
                  </a:lnTo>
                  <a:lnTo>
                    <a:pt x="428" y="294"/>
                  </a:lnTo>
                  <a:lnTo>
                    <a:pt x="430" y="294"/>
                  </a:lnTo>
                  <a:lnTo>
                    <a:pt x="431" y="294"/>
                  </a:lnTo>
                  <a:lnTo>
                    <a:pt x="433" y="293"/>
                  </a:lnTo>
                  <a:lnTo>
                    <a:pt x="434" y="294"/>
                  </a:lnTo>
                  <a:lnTo>
                    <a:pt x="435" y="295"/>
                  </a:lnTo>
                  <a:lnTo>
                    <a:pt x="434" y="296"/>
                  </a:lnTo>
                  <a:lnTo>
                    <a:pt x="432" y="298"/>
                  </a:lnTo>
                  <a:lnTo>
                    <a:pt x="433" y="300"/>
                  </a:lnTo>
                  <a:lnTo>
                    <a:pt x="434" y="301"/>
                  </a:lnTo>
                  <a:lnTo>
                    <a:pt x="436" y="303"/>
                  </a:lnTo>
                  <a:lnTo>
                    <a:pt x="436" y="304"/>
                  </a:lnTo>
                  <a:lnTo>
                    <a:pt x="436" y="307"/>
                  </a:lnTo>
                  <a:lnTo>
                    <a:pt x="436" y="310"/>
                  </a:lnTo>
                  <a:lnTo>
                    <a:pt x="437" y="312"/>
                  </a:lnTo>
                  <a:lnTo>
                    <a:pt x="438" y="315"/>
                  </a:lnTo>
                  <a:lnTo>
                    <a:pt x="444" y="315"/>
                  </a:lnTo>
                  <a:lnTo>
                    <a:pt x="444" y="319"/>
                  </a:lnTo>
                  <a:lnTo>
                    <a:pt x="445" y="323"/>
                  </a:lnTo>
                  <a:lnTo>
                    <a:pt x="443" y="325"/>
                  </a:lnTo>
                  <a:lnTo>
                    <a:pt x="442" y="326"/>
                  </a:lnTo>
                  <a:lnTo>
                    <a:pt x="442" y="328"/>
                  </a:lnTo>
                  <a:lnTo>
                    <a:pt x="443" y="328"/>
                  </a:lnTo>
                  <a:lnTo>
                    <a:pt x="444" y="329"/>
                  </a:lnTo>
                  <a:lnTo>
                    <a:pt x="445" y="330"/>
                  </a:lnTo>
                  <a:lnTo>
                    <a:pt x="445" y="324"/>
                  </a:lnTo>
                  <a:lnTo>
                    <a:pt x="447" y="326"/>
                  </a:lnTo>
                  <a:lnTo>
                    <a:pt x="449" y="327"/>
                  </a:lnTo>
                  <a:lnTo>
                    <a:pt x="451" y="328"/>
                  </a:lnTo>
                  <a:lnTo>
                    <a:pt x="453" y="328"/>
                  </a:lnTo>
                  <a:lnTo>
                    <a:pt x="452" y="330"/>
                  </a:lnTo>
                  <a:lnTo>
                    <a:pt x="451" y="331"/>
                  </a:lnTo>
                  <a:lnTo>
                    <a:pt x="451" y="332"/>
                  </a:lnTo>
                  <a:lnTo>
                    <a:pt x="452" y="332"/>
                  </a:lnTo>
                  <a:lnTo>
                    <a:pt x="453" y="332"/>
                  </a:lnTo>
                  <a:lnTo>
                    <a:pt x="455" y="330"/>
                  </a:lnTo>
                  <a:lnTo>
                    <a:pt x="455" y="337"/>
                  </a:lnTo>
                  <a:lnTo>
                    <a:pt x="455" y="346"/>
                  </a:lnTo>
                  <a:lnTo>
                    <a:pt x="457" y="345"/>
                  </a:lnTo>
                  <a:lnTo>
                    <a:pt x="458" y="344"/>
                  </a:lnTo>
                  <a:lnTo>
                    <a:pt x="458" y="342"/>
                  </a:lnTo>
                  <a:lnTo>
                    <a:pt x="459" y="340"/>
                  </a:lnTo>
                  <a:lnTo>
                    <a:pt x="461" y="346"/>
                  </a:lnTo>
                  <a:lnTo>
                    <a:pt x="463" y="353"/>
                  </a:lnTo>
                  <a:lnTo>
                    <a:pt x="465" y="353"/>
                  </a:lnTo>
                  <a:lnTo>
                    <a:pt x="466" y="352"/>
                  </a:lnTo>
                  <a:lnTo>
                    <a:pt x="467" y="352"/>
                  </a:lnTo>
                  <a:lnTo>
                    <a:pt x="469" y="353"/>
                  </a:lnTo>
                  <a:lnTo>
                    <a:pt x="469" y="349"/>
                  </a:lnTo>
                  <a:lnTo>
                    <a:pt x="469" y="347"/>
                  </a:lnTo>
                  <a:lnTo>
                    <a:pt x="470" y="346"/>
                  </a:lnTo>
                  <a:lnTo>
                    <a:pt x="470" y="348"/>
                  </a:lnTo>
                  <a:lnTo>
                    <a:pt x="471" y="353"/>
                  </a:lnTo>
                  <a:lnTo>
                    <a:pt x="469" y="355"/>
                  </a:lnTo>
                  <a:lnTo>
                    <a:pt x="467" y="357"/>
                  </a:lnTo>
                  <a:lnTo>
                    <a:pt x="468" y="359"/>
                  </a:lnTo>
                  <a:lnTo>
                    <a:pt x="468" y="361"/>
                  </a:lnTo>
                  <a:lnTo>
                    <a:pt x="469" y="363"/>
                  </a:lnTo>
                  <a:lnTo>
                    <a:pt x="470" y="364"/>
                  </a:lnTo>
                  <a:lnTo>
                    <a:pt x="472" y="364"/>
                  </a:lnTo>
                  <a:lnTo>
                    <a:pt x="476" y="365"/>
                  </a:lnTo>
                  <a:lnTo>
                    <a:pt x="476" y="366"/>
                  </a:lnTo>
                  <a:lnTo>
                    <a:pt x="476" y="368"/>
                  </a:lnTo>
                  <a:lnTo>
                    <a:pt x="476" y="369"/>
                  </a:lnTo>
                  <a:lnTo>
                    <a:pt x="475" y="369"/>
                  </a:lnTo>
                  <a:lnTo>
                    <a:pt x="474" y="369"/>
                  </a:lnTo>
                  <a:lnTo>
                    <a:pt x="474" y="370"/>
                  </a:lnTo>
                  <a:lnTo>
                    <a:pt x="474" y="372"/>
                  </a:lnTo>
                  <a:lnTo>
                    <a:pt x="473" y="373"/>
                  </a:lnTo>
                  <a:lnTo>
                    <a:pt x="472" y="374"/>
                  </a:lnTo>
                  <a:lnTo>
                    <a:pt x="478" y="376"/>
                  </a:lnTo>
                  <a:lnTo>
                    <a:pt x="478" y="392"/>
                  </a:lnTo>
                  <a:lnTo>
                    <a:pt x="481" y="393"/>
                  </a:lnTo>
                  <a:lnTo>
                    <a:pt x="484" y="396"/>
                  </a:lnTo>
                  <a:lnTo>
                    <a:pt x="481" y="397"/>
                  </a:lnTo>
                  <a:lnTo>
                    <a:pt x="481" y="398"/>
                  </a:lnTo>
                  <a:lnTo>
                    <a:pt x="482" y="398"/>
                  </a:lnTo>
                  <a:lnTo>
                    <a:pt x="486" y="397"/>
                  </a:lnTo>
                  <a:lnTo>
                    <a:pt x="487" y="395"/>
                  </a:lnTo>
                  <a:lnTo>
                    <a:pt x="488" y="394"/>
                  </a:lnTo>
                  <a:lnTo>
                    <a:pt x="488" y="393"/>
                  </a:lnTo>
                  <a:lnTo>
                    <a:pt x="487" y="393"/>
                  </a:lnTo>
                  <a:lnTo>
                    <a:pt x="486" y="394"/>
                  </a:lnTo>
                  <a:lnTo>
                    <a:pt x="486" y="392"/>
                  </a:lnTo>
                  <a:lnTo>
                    <a:pt x="488" y="391"/>
                  </a:lnTo>
                  <a:lnTo>
                    <a:pt x="490" y="391"/>
                  </a:lnTo>
                  <a:lnTo>
                    <a:pt x="492" y="391"/>
                  </a:lnTo>
                  <a:lnTo>
                    <a:pt x="493" y="390"/>
                  </a:lnTo>
                  <a:lnTo>
                    <a:pt x="493" y="392"/>
                  </a:lnTo>
                  <a:lnTo>
                    <a:pt x="492" y="394"/>
                  </a:lnTo>
                  <a:lnTo>
                    <a:pt x="492" y="399"/>
                  </a:lnTo>
                  <a:lnTo>
                    <a:pt x="488" y="399"/>
                  </a:lnTo>
                  <a:lnTo>
                    <a:pt x="487" y="401"/>
                  </a:lnTo>
                  <a:lnTo>
                    <a:pt x="487" y="402"/>
                  </a:lnTo>
                  <a:lnTo>
                    <a:pt x="488" y="403"/>
                  </a:lnTo>
                  <a:lnTo>
                    <a:pt x="489" y="403"/>
                  </a:lnTo>
                  <a:lnTo>
                    <a:pt x="490" y="405"/>
                  </a:lnTo>
                  <a:lnTo>
                    <a:pt x="491" y="405"/>
                  </a:lnTo>
                  <a:lnTo>
                    <a:pt x="491" y="406"/>
                  </a:lnTo>
                  <a:lnTo>
                    <a:pt x="492" y="407"/>
                  </a:lnTo>
                  <a:lnTo>
                    <a:pt x="491" y="409"/>
                  </a:lnTo>
                  <a:lnTo>
                    <a:pt x="492" y="411"/>
                  </a:lnTo>
                  <a:lnTo>
                    <a:pt x="493" y="411"/>
                  </a:lnTo>
                  <a:lnTo>
                    <a:pt x="494" y="411"/>
                  </a:lnTo>
                  <a:lnTo>
                    <a:pt x="494" y="410"/>
                  </a:lnTo>
                  <a:lnTo>
                    <a:pt x="493" y="409"/>
                  </a:lnTo>
                  <a:lnTo>
                    <a:pt x="493" y="407"/>
                  </a:lnTo>
                  <a:lnTo>
                    <a:pt x="501" y="411"/>
                  </a:lnTo>
                  <a:lnTo>
                    <a:pt x="505" y="413"/>
                  </a:lnTo>
                  <a:lnTo>
                    <a:pt x="507" y="415"/>
                  </a:lnTo>
                  <a:lnTo>
                    <a:pt x="507" y="418"/>
                  </a:lnTo>
                  <a:lnTo>
                    <a:pt x="507" y="424"/>
                  </a:lnTo>
                  <a:lnTo>
                    <a:pt x="507" y="438"/>
                  </a:lnTo>
                  <a:lnTo>
                    <a:pt x="503" y="437"/>
                  </a:lnTo>
                  <a:lnTo>
                    <a:pt x="499" y="438"/>
                  </a:lnTo>
                  <a:lnTo>
                    <a:pt x="501" y="444"/>
                  </a:lnTo>
                  <a:lnTo>
                    <a:pt x="501" y="446"/>
                  </a:lnTo>
                  <a:lnTo>
                    <a:pt x="502" y="449"/>
                  </a:lnTo>
                  <a:lnTo>
                    <a:pt x="503" y="454"/>
                  </a:lnTo>
                  <a:lnTo>
                    <a:pt x="508" y="454"/>
                  </a:lnTo>
                  <a:lnTo>
                    <a:pt x="512" y="453"/>
                  </a:lnTo>
                  <a:lnTo>
                    <a:pt x="517" y="453"/>
                  </a:lnTo>
                  <a:lnTo>
                    <a:pt x="519" y="453"/>
                  </a:lnTo>
                  <a:lnTo>
                    <a:pt x="522" y="454"/>
                  </a:lnTo>
                  <a:lnTo>
                    <a:pt x="522" y="460"/>
                  </a:lnTo>
                  <a:lnTo>
                    <a:pt x="520" y="462"/>
                  </a:lnTo>
                  <a:lnTo>
                    <a:pt x="523" y="462"/>
                  </a:lnTo>
                  <a:lnTo>
                    <a:pt x="525" y="461"/>
                  </a:lnTo>
                  <a:lnTo>
                    <a:pt x="526" y="460"/>
                  </a:lnTo>
                  <a:lnTo>
                    <a:pt x="528" y="460"/>
                  </a:lnTo>
                  <a:lnTo>
                    <a:pt x="530" y="461"/>
                  </a:lnTo>
                  <a:lnTo>
                    <a:pt x="534" y="464"/>
                  </a:lnTo>
                  <a:lnTo>
                    <a:pt x="540" y="469"/>
                  </a:lnTo>
                  <a:lnTo>
                    <a:pt x="540" y="467"/>
                  </a:lnTo>
                  <a:lnTo>
                    <a:pt x="541" y="468"/>
                  </a:lnTo>
                  <a:lnTo>
                    <a:pt x="542" y="469"/>
                  </a:lnTo>
                  <a:lnTo>
                    <a:pt x="543" y="471"/>
                  </a:lnTo>
                  <a:lnTo>
                    <a:pt x="543" y="474"/>
                  </a:lnTo>
                  <a:lnTo>
                    <a:pt x="543" y="475"/>
                  </a:lnTo>
                  <a:lnTo>
                    <a:pt x="543" y="477"/>
                  </a:lnTo>
                  <a:lnTo>
                    <a:pt x="544" y="478"/>
                  </a:lnTo>
                  <a:lnTo>
                    <a:pt x="545" y="479"/>
                  </a:lnTo>
                  <a:lnTo>
                    <a:pt x="548" y="480"/>
                  </a:lnTo>
                  <a:lnTo>
                    <a:pt x="551" y="481"/>
                  </a:lnTo>
                  <a:lnTo>
                    <a:pt x="554" y="481"/>
                  </a:lnTo>
                  <a:lnTo>
                    <a:pt x="557" y="481"/>
                  </a:lnTo>
                  <a:lnTo>
                    <a:pt x="562" y="481"/>
                  </a:lnTo>
                  <a:lnTo>
                    <a:pt x="567" y="481"/>
                  </a:lnTo>
                  <a:lnTo>
                    <a:pt x="569" y="481"/>
                  </a:lnTo>
                  <a:lnTo>
                    <a:pt x="563" y="472"/>
                  </a:lnTo>
                  <a:lnTo>
                    <a:pt x="559" y="467"/>
                  </a:lnTo>
                  <a:lnTo>
                    <a:pt x="557" y="464"/>
                  </a:lnTo>
                  <a:lnTo>
                    <a:pt x="553" y="462"/>
                  </a:lnTo>
                  <a:lnTo>
                    <a:pt x="549" y="461"/>
                  </a:lnTo>
                  <a:lnTo>
                    <a:pt x="545" y="460"/>
                  </a:lnTo>
                  <a:lnTo>
                    <a:pt x="543" y="459"/>
                  </a:lnTo>
                  <a:lnTo>
                    <a:pt x="541" y="458"/>
                  </a:lnTo>
                  <a:lnTo>
                    <a:pt x="536" y="450"/>
                  </a:lnTo>
                  <a:lnTo>
                    <a:pt x="537" y="448"/>
                  </a:lnTo>
                  <a:lnTo>
                    <a:pt x="538" y="447"/>
                  </a:lnTo>
                  <a:lnTo>
                    <a:pt x="538" y="446"/>
                  </a:lnTo>
                  <a:lnTo>
                    <a:pt x="524" y="445"/>
                  </a:lnTo>
                  <a:lnTo>
                    <a:pt x="538" y="443"/>
                  </a:lnTo>
                  <a:lnTo>
                    <a:pt x="536" y="443"/>
                  </a:lnTo>
                  <a:lnTo>
                    <a:pt x="537" y="441"/>
                  </a:lnTo>
                  <a:lnTo>
                    <a:pt x="541" y="438"/>
                  </a:lnTo>
                  <a:lnTo>
                    <a:pt x="544" y="445"/>
                  </a:lnTo>
                  <a:lnTo>
                    <a:pt x="544" y="447"/>
                  </a:lnTo>
                  <a:lnTo>
                    <a:pt x="545" y="447"/>
                  </a:lnTo>
                  <a:lnTo>
                    <a:pt x="547" y="448"/>
                  </a:lnTo>
                  <a:lnTo>
                    <a:pt x="555" y="450"/>
                  </a:lnTo>
                  <a:lnTo>
                    <a:pt x="557" y="454"/>
                  </a:lnTo>
                  <a:lnTo>
                    <a:pt x="555" y="455"/>
                  </a:lnTo>
                  <a:lnTo>
                    <a:pt x="554" y="457"/>
                  </a:lnTo>
                  <a:lnTo>
                    <a:pt x="555" y="458"/>
                  </a:lnTo>
                  <a:lnTo>
                    <a:pt x="557" y="458"/>
                  </a:lnTo>
                  <a:lnTo>
                    <a:pt x="559" y="457"/>
                  </a:lnTo>
                  <a:lnTo>
                    <a:pt x="561" y="455"/>
                  </a:lnTo>
                  <a:lnTo>
                    <a:pt x="563" y="454"/>
                  </a:lnTo>
                  <a:lnTo>
                    <a:pt x="563" y="455"/>
                  </a:lnTo>
                  <a:lnTo>
                    <a:pt x="563" y="456"/>
                  </a:lnTo>
                  <a:lnTo>
                    <a:pt x="562" y="457"/>
                  </a:lnTo>
                  <a:lnTo>
                    <a:pt x="561" y="460"/>
                  </a:lnTo>
                  <a:lnTo>
                    <a:pt x="564" y="462"/>
                  </a:lnTo>
                  <a:lnTo>
                    <a:pt x="567" y="464"/>
                  </a:lnTo>
                  <a:lnTo>
                    <a:pt x="569" y="465"/>
                  </a:lnTo>
                  <a:lnTo>
                    <a:pt x="570" y="466"/>
                  </a:lnTo>
                  <a:lnTo>
                    <a:pt x="572" y="469"/>
                  </a:lnTo>
                  <a:lnTo>
                    <a:pt x="573" y="471"/>
                  </a:lnTo>
                  <a:lnTo>
                    <a:pt x="573" y="472"/>
                  </a:lnTo>
                  <a:lnTo>
                    <a:pt x="572" y="474"/>
                  </a:lnTo>
                  <a:lnTo>
                    <a:pt x="572" y="475"/>
                  </a:lnTo>
                  <a:lnTo>
                    <a:pt x="571" y="478"/>
                  </a:lnTo>
                  <a:lnTo>
                    <a:pt x="571" y="480"/>
                  </a:lnTo>
                  <a:lnTo>
                    <a:pt x="570" y="483"/>
                  </a:lnTo>
                  <a:lnTo>
                    <a:pt x="568" y="487"/>
                  </a:lnTo>
                  <a:lnTo>
                    <a:pt x="557" y="485"/>
                  </a:lnTo>
                  <a:lnTo>
                    <a:pt x="543" y="483"/>
                  </a:lnTo>
                  <a:lnTo>
                    <a:pt x="544" y="487"/>
                  </a:lnTo>
                  <a:lnTo>
                    <a:pt x="544" y="490"/>
                  </a:lnTo>
                  <a:lnTo>
                    <a:pt x="545" y="493"/>
                  </a:lnTo>
                  <a:lnTo>
                    <a:pt x="546" y="494"/>
                  </a:lnTo>
                  <a:lnTo>
                    <a:pt x="548" y="496"/>
                  </a:lnTo>
                  <a:lnTo>
                    <a:pt x="551" y="501"/>
                  </a:lnTo>
                  <a:lnTo>
                    <a:pt x="555" y="506"/>
                  </a:lnTo>
                  <a:lnTo>
                    <a:pt x="556" y="509"/>
                  </a:lnTo>
                  <a:lnTo>
                    <a:pt x="557" y="512"/>
                  </a:lnTo>
                  <a:lnTo>
                    <a:pt x="557" y="514"/>
                  </a:lnTo>
                  <a:lnTo>
                    <a:pt x="556" y="516"/>
                  </a:lnTo>
                  <a:lnTo>
                    <a:pt x="555" y="520"/>
                  </a:lnTo>
                  <a:lnTo>
                    <a:pt x="553" y="527"/>
                  </a:lnTo>
                  <a:lnTo>
                    <a:pt x="553" y="532"/>
                  </a:lnTo>
                  <a:lnTo>
                    <a:pt x="554" y="538"/>
                  </a:lnTo>
                  <a:lnTo>
                    <a:pt x="555" y="545"/>
                  </a:lnTo>
                  <a:lnTo>
                    <a:pt x="555" y="552"/>
                  </a:lnTo>
                  <a:lnTo>
                    <a:pt x="553" y="562"/>
                  </a:lnTo>
                  <a:lnTo>
                    <a:pt x="551" y="574"/>
                  </a:lnTo>
                  <a:lnTo>
                    <a:pt x="550" y="579"/>
                  </a:lnTo>
                  <a:lnTo>
                    <a:pt x="549" y="585"/>
                  </a:lnTo>
                  <a:lnTo>
                    <a:pt x="550" y="591"/>
                  </a:lnTo>
                  <a:lnTo>
                    <a:pt x="551" y="596"/>
                  </a:lnTo>
                  <a:lnTo>
                    <a:pt x="554" y="598"/>
                  </a:lnTo>
                  <a:lnTo>
                    <a:pt x="556" y="599"/>
                  </a:lnTo>
                  <a:lnTo>
                    <a:pt x="557" y="600"/>
                  </a:lnTo>
                  <a:lnTo>
                    <a:pt x="556" y="606"/>
                  </a:lnTo>
                  <a:lnTo>
                    <a:pt x="556" y="611"/>
                  </a:lnTo>
                  <a:lnTo>
                    <a:pt x="556" y="613"/>
                  </a:lnTo>
                  <a:lnTo>
                    <a:pt x="557" y="613"/>
                  </a:lnTo>
                  <a:lnTo>
                    <a:pt x="554" y="623"/>
                  </a:lnTo>
                  <a:lnTo>
                    <a:pt x="551" y="631"/>
                  </a:lnTo>
                  <a:lnTo>
                    <a:pt x="552" y="632"/>
                  </a:lnTo>
                  <a:lnTo>
                    <a:pt x="554" y="634"/>
                  </a:lnTo>
                  <a:lnTo>
                    <a:pt x="557" y="637"/>
                  </a:lnTo>
                  <a:lnTo>
                    <a:pt x="559" y="642"/>
                  </a:lnTo>
                  <a:lnTo>
                    <a:pt x="559" y="646"/>
                  </a:lnTo>
                  <a:lnTo>
                    <a:pt x="559" y="650"/>
                  </a:lnTo>
                  <a:lnTo>
                    <a:pt x="560" y="653"/>
                  </a:lnTo>
                  <a:lnTo>
                    <a:pt x="561" y="656"/>
                  </a:lnTo>
                  <a:lnTo>
                    <a:pt x="565" y="663"/>
                  </a:lnTo>
                  <a:lnTo>
                    <a:pt x="568" y="667"/>
                  </a:lnTo>
                  <a:lnTo>
                    <a:pt x="570" y="671"/>
                  </a:lnTo>
                  <a:lnTo>
                    <a:pt x="572" y="670"/>
                  </a:lnTo>
                  <a:lnTo>
                    <a:pt x="573" y="669"/>
                  </a:lnTo>
                  <a:lnTo>
                    <a:pt x="573" y="668"/>
                  </a:lnTo>
                  <a:lnTo>
                    <a:pt x="573" y="667"/>
                  </a:lnTo>
                  <a:lnTo>
                    <a:pt x="573" y="666"/>
                  </a:lnTo>
                  <a:lnTo>
                    <a:pt x="572" y="665"/>
                  </a:lnTo>
                  <a:lnTo>
                    <a:pt x="574" y="666"/>
                  </a:lnTo>
                  <a:lnTo>
                    <a:pt x="576" y="667"/>
                  </a:lnTo>
                  <a:lnTo>
                    <a:pt x="577" y="667"/>
                  </a:lnTo>
                  <a:lnTo>
                    <a:pt x="578" y="667"/>
                  </a:lnTo>
                  <a:lnTo>
                    <a:pt x="577" y="668"/>
                  </a:lnTo>
                  <a:lnTo>
                    <a:pt x="576" y="670"/>
                  </a:lnTo>
                  <a:lnTo>
                    <a:pt x="576" y="673"/>
                  </a:lnTo>
                  <a:lnTo>
                    <a:pt x="576" y="677"/>
                  </a:lnTo>
                  <a:lnTo>
                    <a:pt x="575" y="679"/>
                  </a:lnTo>
                  <a:lnTo>
                    <a:pt x="574" y="681"/>
                  </a:lnTo>
                  <a:lnTo>
                    <a:pt x="584" y="685"/>
                  </a:lnTo>
                  <a:lnTo>
                    <a:pt x="582" y="687"/>
                  </a:lnTo>
                  <a:lnTo>
                    <a:pt x="581" y="690"/>
                  </a:lnTo>
                  <a:lnTo>
                    <a:pt x="580" y="693"/>
                  </a:lnTo>
                  <a:lnTo>
                    <a:pt x="580" y="696"/>
                  </a:lnTo>
                  <a:lnTo>
                    <a:pt x="581" y="698"/>
                  </a:lnTo>
                  <a:lnTo>
                    <a:pt x="583" y="700"/>
                  </a:lnTo>
                  <a:lnTo>
                    <a:pt x="587" y="705"/>
                  </a:lnTo>
                  <a:lnTo>
                    <a:pt x="595" y="711"/>
                  </a:lnTo>
                  <a:lnTo>
                    <a:pt x="595" y="712"/>
                  </a:lnTo>
                  <a:lnTo>
                    <a:pt x="593" y="714"/>
                  </a:lnTo>
                  <a:lnTo>
                    <a:pt x="591" y="715"/>
                  </a:lnTo>
                  <a:lnTo>
                    <a:pt x="595" y="717"/>
                  </a:lnTo>
                  <a:lnTo>
                    <a:pt x="596" y="718"/>
                  </a:lnTo>
                  <a:lnTo>
                    <a:pt x="596" y="719"/>
                  </a:lnTo>
                  <a:lnTo>
                    <a:pt x="597" y="720"/>
                  </a:lnTo>
                  <a:lnTo>
                    <a:pt x="597" y="724"/>
                  </a:lnTo>
                  <a:lnTo>
                    <a:pt x="597" y="728"/>
                  </a:lnTo>
                  <a:lnTo>
                    <a:pt x="597" y="733"/>
                  </a:lnTo>
                  <a:lnTo>
                    <a:pt x="599" y="733"/>
                  </a:lnTo>
                  <a:lnTo>
                    <a:pt x="599" y="732"/>
                  </a:lnTo>
                  <a:lnTo>
                    <a:pt x="599" y="731"/>
                  </a:lnTo>
                  <a:lnTo>
                    <a:pt x="600" y="731"/>
                  </a:lnTo>
                  <a:lnTo>
                    <a:pt x="601" y="731"/>
                  </a:lnTo>
                  <a:lnTo>
                    <a:pt x="604" y="731"/>
                  </a:lnTo>
                  <a:lnTo>
                    <a:pt x="608" y="733"/>
                  </a:lnTo>
                  <a:lnTo>
                    <a:pt x="616" y="736"/>
                  </a:lnTo>
                  <a:lnTo>
                    <a:pt x="616" y="742"/>
                  </a:lnTo>
                  <a:lnTo>
                    <a:pt x="618" y="742"/>
                  </a:lnTo>
                  <a:lnTo>
                    <a:pt x="620" y="741"/>
                  </a:lnTo>
                  <a:lnTo>
                    <a:pt x="621" y="740"/>
                  </a:lnTo>
                  <a:lnTo>
                    <a:pt x="622" y="740"/>
                  </a:lnTo>
                  <a:lnTo>
                    <a:pt x="624" y="742"/>
                  </a:lnTo>
                  <a:lnTo>
                    <a:pt x="625" y="745"/>
                  </a:lnTo>
                  <a:lnTo>
                    <a:pt x="626" y="748"/>
                  </a:lnTo>
                  <a:lnTo>
                    <a:pt x="628" y="750"/>
                  </a:lnTo>
                  <a:lnTo>
                    <a:pt x="634" y="752"/>
                  </a:lnTo>
                  <a:lnTo>
                    <a:pt x="634" y="754"/>
                  </a:lnTo>
                  <a:lnTo>
                    <a:pt x="635" y="756"/>
                  </a:lnTo>
                  <a:lnTo>
                    <a:pt x="635" y="760"/>
                  </a:lnTo>
                  <a:lnTo>
                    <a:pt x="635" y="763"/>
                  </a:lnTo>
                  <a:lnTo>
                    <a:pt x="636" y="767"/>
                  </a:lnTo>
                  <a:lnTo>
                    <a:pt x="636" y="769"/>
                  </a:lnTo>
                  <a:lnTo>
                    <a:pt x="637" y="773"/>
                  </a:lnTo>
                  <a:lnTo>
                    <a:pt x="641" y="773"/>
                  </a:lnTo>
                  <a:lnTo>
                    <a:pt x="643" y="777"/>
                  </a:lnTo>
                  <a:lnTo>
                    <a:pt x="643" y="781"/>
                  </a:lnTo>
                  <a:lnTo>
                    <a:pt x="644" y="785"/>
                  </a:lnTo>
                  <a:lnTo>
                    <a:pt x="645" y="790"/>
                  </a:lnTo>
                  <a:lnTo>
                    <a:pt x="648" y="794"/>
                  </a:lnTo>
                  <a:lnTo>
                    <a:pt x="652" y="798"/>
                  </a:lnTo>
                  <a:lnTo>
                    <a:pt x="660" y="806"/>
                  </a:lnTo>
                  <a:lnTo>
                    <a:pt x="662" y="806"/>
                  </a:lnTo>
                  <a:lnTo>
                    <a:pt x="663" y="806"/>
                  </a:lnTo>
                  <a:lnTo>
                    <a:pt x="666" y="807"/>
                  </a:lnTo>
                  <a:lnTo>
                    <a:pt x="668" y="810"/>
                  </a:lnTo>
                  <a:lnTo>
                    <a:pt x="670" y="813"/>
                  </a:lnTo>
                  <a:lnTo>
                    <a:pt x="670" y="817"/>
                  </a:lnTo>
                  <a:lnTo>
                    <a:pt x="671" y="821"/>
                  </a:lnTo>
                  <a:lnTo>
                    <a:pt x="672" y="838"/>
                  </a:lnTo>
                  <a:lnTo>
                    <a:pt x="660" y="842"/>
                  </a:lnTo>
                  <a:lnTo>
                    <a:pt x="668" y="847"/>
                  </a:lnTo>
                  <a:lnTo>
                    <a:pt x="676" y="852"/>
                  </a:lnTo>
                  <a:lnTo>
                    <a:pt x="676" y="855"/>
                  </a:lnTo>
                  <a:lnTo>
                    <a:pt x="677" y="856"/>
                  </a:lnTo>
                  <a:lnTo>
                    <a:pt x="679" y="857"/>
                  </a:lnTo>
                  <a:lnTo>
                    <a:pt x="682" y="857"/>
                  </a:lnTo>
                  <a:lnTo>
                    <a:pt x="685" y="858"/>
                  </a:lnTo>
                  <a:lnTo>
                    <a:pt x="687" y="859"/>
                  </a:lnTo>
                  <a:lnTo>
                    <a:pt x="689" y="863"/>
                  </a:lnTo>
                  <a:lnTo>
                    <a:pt x="691" y="867"/>
                  </a:lnTo>
                  <a:lnTo>
                    <a:pt x="695" y="867"/>
                  </a:lnTo>
                  <a:lnTo>
                    <a:pt x="696" y="870"/>
                  </a:lnTo>
                  <a:lnTo>
                    <a:pt x="696" y="872"/>
                  </a:lnTo>
                  <a:lnTo>
                    <a:pt x="696" y="878"/>
                  </a:lnTo>
                  <a:lnTo>
                    <a:pt x="696" y="884"/>
                  </a:lnTo>
                  <a:lnTo>
                    <a:pt x="696" y="887"/>
                  </a:lnTo>
                  <a:lnTo>
                    <a:pt x="697" y="890"/>
                  </a:lnTo>
                  <a:lnTo>
                    <a:pt x="698" y="891"/>
                  </a:lnTo>
                  <a:lnTo>
                    <a:pt x="701" y="892"/>
                  </a:lnTo>
                  <a:lnTo>
                    <a:pt x="705" y="894"/>
                  </a:lnTo>
                  <a:lnTo>
                    <a:pt x="705" y="898"/>
                  </a:lnTo>
                  <a:lnTo>
                    <a:pt x="708" y="902"/>
                  </a:lnTo>
                  <a:lnTo>
                    <a:pt x="713" y="908"/>
                  </a:lnTo>
                  <a:lnTo>
                    <a:pt x="720" y="915"/>
                  </a:lnTo>
                  <a:lnTo>
                    <a:pt x="722" y="918"/>
                  </a:lnTo>
                  <a:lnTo>
                    <a:pt x="724" y="921"/>
                  </a:lnTo>
                  <a:lnTo>
                    <a:pt x="724" y="918"/>
                  </a:lnTo>
                  <a:lnTo>
                    <a:pt x="725" y="918"/>
                  </a:lnTo>
                  <a:lnTo>
                    <a:pt x="726" y="918"/>
                  </a:lnTo>
                  <a:lnTo>
                    <a:pt x="728" y="917"/>
                  </a:lnTo>
                  <a:lnTo>
                    <a:pt x="727" y="915"/>
                  </a:lnTo>
                  <a:lnTo>
                    <a:pt x="728" y="913"/>
                  </a:lnTo>
                  <a:lnTo>
                    <a:pt x="728" y="911"/>
                  </a:lnTo>
                  <a:lnTo>
                    <a:pt x="728" y="909"/>
                  </a:lnTo>
                  <a:lnTo>
                    <a:pt x="726" y="908"/>
                  </a:lnTo>
                  <a:lnTo>
                    <a:pt x="724" y="906"/>
                  </a:lnTo>
                  <a:lnTo>
                    <a:pt x="721" y="905"/>
                  </a:lnTo>
                  <a:lnTo>
                    <a:pt x="720" y="903"/>
                  </a:lnTo>
                  <a:lnTo>
                    <a:pt x="719" y="902"/>
                  </a:lnTo>
                  <a:lnTo>
                    <a:pt x="719" y="900"/>
                  </a:lnTo>
                  <a:lnTo>
                    <a:pt x="719" y="899"/>
                  </a:lnTo>
                  <a:lnTo>
                    <a:pt x="718" y="898"/>
                  </a:lnTo>
                  <a:lnTo>
                    <a:pt x="717" y="897"/>
                  </a:lnTo>
                  <a:lnTo>
                    <a:pt x="715" y="897"/>
                  </a:lnTo>
                  <a:lnTo>
                    <a:pt x="713" y="897"/>
                  </a:lnTo>
                  <a:lnTo>
                    <a:pt x="712" y="896"/>
                  </a:lnTo>
                  <a:lnTo>
                    <a:pt x="712" y="895"/>
                  </a:lnTo>
                  <a:lnTo>
                    <a:pt x="713" y="893"/>
                  </a:lnTo>
                  <a:lnTo>
                    <a:pt x="714" y="891"/>
                  </a:lnTo>
                  <a:lnTo>
                    <a:pt x="714" y="888"/>
                  </a:lnTo>
                  <a:lnTo>
                    <a:pt x="710" y="888"/>
                  </a:lnTo>
                  <a:lnTo>
                    <a:pt x="707" y="872"/>
                  </a:lnTo>
                  <a:lnTo>
                    <a:pt x="705" y="865"/>
                  </a:lnTo>
                  <a:lnTo>
                    <a:pt x="703" y="857"/>
                  </a:lnTo>
                  <a:lnTo>
                    <a:pt x="700" y="857"/>
                  </a:lnTo>
                  <a:lnTo>
                    <a:pt x="698" y="856"/>
                  </a:lnTo>
                  <a:lnTo>
                    <a:pt x="697" y="855"/>
                  </a:lnTo>
                  <a:lnTo>
                    <a:pt x="697" y="853"/>
                  </a:lnTo>
                  <a:lnTo>
                    <a:pt x="697" y="851"/>
                  </a:lnTo>
                  <a:lnTo>
                    <a:pt x="697" y="848"/>
                  </a:lnTo>
                  <a:lnTo>
                    <a:pt x="697" y="846"/>
                  </a:lnTo>
                  <a:lnTo>
                    <a:pt x="693" y="846"/>
                  </a:lnTo>
                  <a:lnTo>
                    <a:pt x="691" y="840"/>
                  </a:lnTo>
                  <a:lnTo>
                    <a:pt x="689" y="835"/>
                  </a:lnTo>
                  <a:lnTo>
                    <a:pt x="685" y="823"/>
                  </a:lnTo>
                  <a:lnTo>
                    <a:pt x="680" y="823"/>
                  </a:lnTo>
                  <a:lnTo>
                    <a:pt x="679" y="819"/>
                  </a:lnTo>
                  <a:lnTo>
                    <a:pt x="679" y="815"/>
                  </a:lnTo>
                  <a:lnTo>
                    <a:pt x="679" y="811"/>
                  </a:lnTo>
                  <a:lnTo>
                    <a:pt x="678" y="809"/>
                  </a:lnTo>
                  <a:lnTo>
                    <a:pt x="678" y="807"/>
                  </a:lnTo>
                  <a:lnTo>
                    <a:pt x="675" y="807"/>
                  </a:lnTo>
                  <a:lnTo>
                    <a:pt x="672" y="807"/>
                  </a:lnTo>
                  <a:lnTo>
                    <a:pt x="670" y="803"/>
                  </a:lnTo>
                  <a:lnTo>
                    <a:pt x="669" y="799"/>
                  </a:lnTo>
                  <a:lnTo>
                    <a:pt x="668" y="795"/>
                  </a:lnTo>
                  <a:lnTo>
                    <a:pt x="666" y="790"/>
                  </a:lnTo>
                  <a:lnTo>
                    <a:pt x="663" y="787"/>
                  </a:lnTo>
                  <a:lnTo>
                    <a:pt x="660" y="784"/>
                  </a:lnTo>
                  <a:lnTo>
                    <a:pt x="662" y="783"/>
                  </a:lnTo>
                  <a:lnTo>
                    <a:pt x="662" y="780"/>
                  </a:lnTo>
                  <a:lnTo>
                    <a:pt x="662" y="777"/>
                  </a:lnTo>
                  <a:lnTo>
                    <a:pt x="662" y="775"/>
                  </a:lnTo>
                  <a:lnTo>
                    <a:pt x="668" y="778"/>
                  </a:lnTo>
                  <a:lnTo>
                    <a:pt x="672" y="781"/>
                  </a:lnTo>
                  <a:lnTo>
                    <a:pt x="675" y="779"/>
                  </a:lnTo>
                  <a:lnTo>
                    <a:pt x="676" y="778"/>
                  </a:lnTo>
                  <a:lnTo>
                    <a:pt x="676" y="777"/>
                  </a:lnTo>
                  <a:lnTo>
                    <a:pt x="682" y="777"/>
                  </a:lnTo>
                  <a:lnTo>
                    <a:pt x="682" y="780"/>
                  </a:lnTo>
                  <a:lnTo>
                    <a:pt x="682" y="782"/>
                  </a:lnTo>
                  <a:lnTo>
                    <a:pt x="685" y="782"/>
                  </a:lnTo>
                  <a:lnTo>
                    <a:pt x="686" y="786"/>
                  </a:lnTo>
                  <a:lnTo>
                    <a:pt x="685" y="788"/>
                  </a:lnTo>
                  <a:lnTo>
                    <a:pt x="684" y="790"/>
                  </a:lnTo>
                  <a:lnTo>
                    <a:pt x="683" y="791"/>
                  </a:lnTo>
                  <a:lnTo>
                    <a:pt x="683" y="792"/>
                  </a:lnTo>
                  <a:lnTo>
                    <a:pt x="684" y="793"/>
                  </a:lnTo>
                  <a:lnTo>
                    <a:pt x="685" y="794"/>
                  </a:lnTo>
                  <a:lnTo>
                    <a:pt x="687" y="796"/>
                  </a:lnTo>
                  <a:lnTo>
                    <a:pt x="690" y="798"/>
                  </a:lnTo>
                  <a:lnTo>
                    <a:pt x="691" y="800"/>
                  </a:lnTo>
                  <a:lnTo>
                    <a:pt x="692" y="803"/>
                  </a:lnTo>
                  <a:lnTo>
                    <a:pt x="692" y="806"/>
                  </a:lnTo>
                  <a:lnTo>
                    <a:pt x="692" y="808"/>
                  </a:lnTo>
                  <a:lnTo>
                    <a:pt x="693" y="811"/>
                  </a:lnTo>
                  <a:lnTo>
                    <a:pt x="698" y="815"/>
                  </a:lnTo>
                  <a:lnTo>
                    <a:pt x="703" y="819"/>
                  </a:lnTo>
                  <a:lnTo>
                    <a:pt x="703" y="821"/>
                  </a:lnTo>
                  <a:lnTo>
                    <a:pt x="703" y="823"/>
                  </a:lnTo>
                  <a:lnTo>
                    <a:pt x="702" y="825"/>
                  </a:lnTo>
                  <a:lnTo>
                    <a:pt x="703" y="827"/>
                  </a:lnTo>
                  <a:lnTo>
                    <a:pt x="705" y="827"/>
                  </a:lnTo>
                  <a:lnTo>
                    <a:pt x="708" y="829"/>
                  </a:lnTo>
                  <a:lnTo>
                    <a:pt x="710" y="833"/>
                  </a:lnTo>
                  <a:lnTo>
                    <a:pt x="714" y="840"/>
                  </a:lnTo>
                  <a:lnTo>
                    <a:pt x="717" y="840"/>
                  </a:lnTo>
                  <a:lnTo>
                    <a:pt x="720" y="840"/>
                  </a:lnTo>
                  <a:lnTo>
                    <a:pt x="720" y="842"/>
                  </a:lnTo>
                  <a:lnTo>
                    <a:pt x="720" y="844"/>
                  </a:lnTo>
                  <a:lnTo>
                    <a:pt x="720" y="846"/>
                  </a:lnTo>
                  <a:lnTo>
                    <a:pt x="720" y="848"/>
                  </a:lnTo>
                  <a:lnTo>
                    <a:pt x="721" y="849"/>
                  </a:lnTo>
                  <a:lnTo>
                    <a:pt x="723" y="849"/>
                  </a:lnTo>
                  <a:lnTo>
                    <a:pt x="724" y="849"/>
                  </a:lnTo>
                  <a:lnTo>
                    <a:pt x="726" y="850"/>
                  </a:lnTo>
                  <a:lnTo>
                    <a:pt x="726" y="851"/>
                  </a:lnTo>
                  <a:lnTo>
                    <a:pt x="727" y="853"/>
                  </a:lnTo>
                  <a:lnTo>
                    <a:pt x="727" y="856"/>
                  </a:lnTo>
                  <a:lnTo>
                    <a:pt x="727" y="857"/>
                  </a:lnTo>
                  <a:lnTo>
                    <a:pt x="728" y="857"/>
                  </a:lnTo>
                  <a:lnTo>
                    <a:pt x="732" y="859"/>
                  </a:lnTo>
                  <a:lnTo>
                    <a:pt x="737" y="861"/>
                  </a:lnTo>
                  <a:lnTo>
                    <a:pt x="736" y="863"/>
                  </a:lnTo>
                  <a:lnTo>
                    <a:pt x="735" y="864"/>
                  </a:lnTo>
                  <a:lnTo>
                    <a:pt x="734" y="866"/>
                  </a:lnTo>
                  <a:lnTo>
                    <a:pt x="731" y="867"/>
                  </a:lnTo>
                  <a:lnTo>
                    <a:pt x="732" y="870"/>
                  </a:lnTo>
                  <a:lnTo>
                    <a:pt x="731" y="873"/>
                  </a:lnTo>
                  <a:lnTo>
                    <a:pt x="742" y="880"/>
                  </a:lnTo>
                  <a:lnTo>
                    <a:pt x="748" y="884"/>
                  </a:lnTo>
                  <a:lnTo>
                    <a:pt x="750" y="886"/>
                  </a:lnTo>
                  <a:lnTo>
                    <a:pt x="752" y="888"/>
                  </a:lnTo>
                  <a:lnTo>
                    <a:pt x="753" y="891"/>
                  </a:lnTo>
                  <a:lnTo>
                    <a:pt x="753" y="893"/>
                  </a:lnTo>
                  <a:lnTo>
                    <a:pt x="754" y="896"/>
                  </a:lnTo>
                  <a:lnTo>
                    <a:pt x="755" y="897"/>
                  </a:lnTo>
                  <a:lnTo>
                    <a:pt x="756" y="898"/>
                  </a:lnTo>
                  <a:lnTo>
                    <a:pt x="757" y="898"/>
                  </a:lnTo>
                  <a:lnTo>
                    <a:pt x="759" y="898"/>
                  </a:lnTo>
                  <a:lnTo>
                    <a:pt x="760" y="899"/>
                  </a:lnTo>
                  <a:lnTo>
                    <a:pt x="761" y="900"/>
                  </a:lnTo>
                  <a:lnTo>
                    <a:pt x="761" y="901"/>
                  </a:lnTo>
                  <a:lnTo>
                    <a:pt x="761" y="903"/>
                  </a:lnTo>
                  <a:lnTo>
                    <a:pt x="761" y="904"/>
                  </a:lnTo>
                  <a:lnTo>
                    <a:pt x="761" y="905"/>
                  </a:lnTo>
                  <a:lnTo>
                    <a:pt x="765" y="905"/>
                  </a:lnTo>
                  <a:lnTo>
                    <a:pt x="771" y="915"/>
                  </a:lnTo>
                  <a:lnTo>
                    <a:pt x="771" y="916"/>
                  </a:lnTo>
                  <a:lnTo>
                    <a:pt x="771" y="918"/>
                  </a:lnTo>
                  <a:lnTo>
                    <a:pt x="770" y="919"/>
                  </a:lnTo>
                  <a:lnTo>
                    <a:pt x="771" y="920"/>
                  </a:lnTo>
                  <a:lnTo>
                    <a:pt x="771" y="921"/>
                  </a:lnTo>
                  <a:lnTo>
                    <a:pt x="774" y="924"/>
                  </a:lnTo>
                  <a:lnTo>
                    <a:pt x="777" y="928"/>
                  </a:lnTo>
                  <a:lnTo>
                    <a:pt x="780" y="932"/>
                  </a:lnTo>
                  <a:lnTo>
                    <a:pt x="781" y="934"/>
                  </a:lnTo>
                  <a:lnTo>
                    <a:pt x="782" y="936"/>
                  </a:lnTo>
                  <a:lnTo>
                    <a:pt x="784" y="943"/>
                  </a:lnTo>
                  <a:lnTo>
                    <a:pt x="784" y="946"/>
                  </a:lnTo>
                  <a:lnTo>
                    <a:pt x="784" y="949"/>
                  </a:lnTo>
                  <a:lnTo>
                    <a:pt x="782" y="954"/>
                  </a:lnTo>
                  <a:lnTo>
                    <a:pt x="781" y="959"/>
                  </a:lnTo>
                  <a:lnTo>
                    <a:pt x="779" y="963"/>
                  </a:lnTo>
                  <a:lnTo>
                    <a:pt x="779" y="968"/>
                  </a:lnTo>
                  <a:lnTo>
                    <a:pt x="780" y="973"/>
                  </a:lnTo>
                  <a:lnTo>
                    <a:pt x="781" y="976"/>
                  </a:lnTo>
                  <a:lnTo>
                    <a:pt x="782" y="978"/>
                  </a:lnTo>
                  <a:lnTo>
                    <a:pt x="784" y="980"/>
                  </a:lnTo>
                  <a:lnTo>
                    <a:pt x="785" y="981"/>
                  </a:lnTo>
                  <a:lnTo>
                    <a:pt x="789" y="982"/>
                  </a:lnTo>
                  <a:lnTo>
                    <a:pt x="792" y="982"/>
                  </a:lnTo>
                  <a:lnTo>
                    <a:pt x="794" y="983"/>
                  </a:lnTo>
                  <a:lnTo>
                    <a:pt x="796" y="984"/>
                  </a:lnTo>
                  <a:lnTo>
                    <a:pt x="807" y="1001"/>
                  </a:lnTo>
                  <a:lnTo>
                    <a:pt x="809" y="1002"/>
                  </a:lnTo>
                  <a:lnTo>
                    <a:pt x="812" y="1003"/>
                  </a:lnTo>
                  <a:lnTo>
                    <a:pt x="816" y="1003"/>
                  </a:lnTo>
                  <a:lnTo>
                    <a:pt x="821" y="1004"/>
                  </a:lnTo>
                  <a:lnTo>
                    <a:pt x="823" y="1004"/>
                  </a:lnTo>
                  <a:lnTo>
                    <a:pt x="825" y="1005"/>
                  </a:lnTo>
                  <a:lnTo>
                    <a:pt x="828" y="1008"/>
                  </a:lnTo>
                  <a:lnTo>
                    <a:pt x="832" y="1012"/>
                  </a:lnTo>
                  <a:lnTo>
                    <a:pt x="836" y="1016"/>
                  </a:lnTo>
                  <a:lnTo>
                    <a:pt x="838" y="1017"/>
                  </a:lnTo>
                  <a:lnTo>
                    <a:pt x="840" y="1019"/>
                  </a:lnTo>
                  <a:lnTo>
                    <a:pt x="845" y="1020"/>
                  </a:lnTo>
                  <a:lnTo>
                    <a:pt x="849" y="1021"/>
                  </a:lnTo>
                  <a:lnTo>
                    <a:pt x="854" y="1021"/>
                  </a:lnTo>
                  <a:lnTo>
                    <a:pt x="859" y="1022"/>
                  </a:lnTo>
                  <a:lnTo>
                    <a:pt x="861" y="1024"/>
                  </a:lnTo>
                  <a:lnTo>
                    <a:pt x="863" y="1026"/>
                  </a:lnTo>
                  <a:lnTo>
                    <a:pt x="865" y="1029"/>
                  </a:lnTo>
                  <a:lnTo>
                    <a:pt x="867" y="1030"/>
                  </a:lnTo>
                  <a:lnTo>
                    <a:pt x="884" y="1034"/>
                  </a:lnTo>
                  <a:lnTo>
                    <a:pt x="889" y="1034"/>
                  </a:lnTo>
                  <a:lnTo>
                    <a:pt x="892" y="1032"/>
                  </a:lnTo>
                  <a:lnTo>
                    <a:pt x="895" y="1031"/>
                  </a:lnTo>
                  <a:lnTo>
                    <a:pt x="898" y="1030"/>
                  </a:lnTo>
                  <a:lnTo>
                    <a:pt x="902" y="1029"/>
                  </a:lnTo>
                  <a:lnTo>
                    <a:pt x="906" y="1029"/>
                  </a:lnTo>
                  <a:lnTo>
                    <a:pt x="909" y="1029"/>
                  </a:lnTo>
                  <a:lnTo>
                    <a:pt x="913" y="1029"/>
                  </a:lnTo>
                  <a:lnTo>
                    <a:pt x="919" y="1030"/>
                  </a:lnTo>
                  <a:lnTo>
                    <a:pt x="926" y="1032"/>
                  </a:lnTo>
                  <a:lnTo>
                    <a:pt x="926" y="1031"/>
                  </a:lnTo>
                  <a:lnTo>
                    <a:pt x="926" y="1029"/>
                  </a:lnTo>
                  <a:lnTo>
                    <a:pt x="927" y="1028"/>
                  </a:lnTo>
                  <a:lnTo>
                    <a:pt x="928" y="1028"/>
                  </a:lnTo>
                  <a:lnTo>
                    <a:pt x="930" y="1029"/>
                  </a:lnTo>
                  <a:lnTo>
                    <a:pt x="931" y="1030"/>
                  </a:lnTo>
                  <a:lnTo>
                    <a:pt x="934" y="1033"/>
                  </a:lnTo>
                  <a:lnTo>
                    <a:pt x="936" y="1037"/>
                  </a:lnTo>
                  <a:lnTo>
                    <a:pt x="938" y="1040"/>
                  </a:lnTo>
                  <a:lnTo>
                    <a:pt x="949" y="1051"/>
                  </a:lnTo>
                  <a:lnTo>
                    <a:pt x="952" y="1055"/>
                  </a:lnTo>
                  <a:lnTo>
                    <a:pt x="955" y="1057"/>
                  </a:lnTo>
                  <a:lnTo>
                    <a:pt x="958" y="1059"/>
                  </a:lnTo>
                  <a:lnTo>
                    <a:pt x="961" y="1061"/>
                  </a:lnTo>
                  <a:lnTo>
                    <a:pt x="963" y="1061"/>
                  </a:lnTo>
                  <a:lnTo>
                    <a:pt x="964" y="1060"/>
                  </a:lnTo>
                  <a:lnTo>
                    <a:pt x="966" y="1060"/>
                  </a:lnTo>
                  <a:lnTo>
                    <a:pt x="967" y="1060"/>
                  </a:lnTo>
                  <a:lnTo>
                    <a:pt x="969" y="1061"/>
                  </a:lnTo>
                  <a:lnTo>
                    <a:pt x="974" y="1069"/>
                  </a:lnTo>
                  <a:lnTo>
                    <a:pt x="978" y="1069"/>
                  </a:lnTo>
                  <a:lnTo>
                    <a:pt x="982" y="1069"/>
                  </a:lnTo>
                  <a:lnTo>
                    <a:pt x="986" y="1068"/>
                  </a:lnTo>
                  <a:lnTo>
                    <a:pt x="990" y="1069"/>
                  </a:lnTo>
                  <a:lnTo>
                    <a:pt x="994" y="1071"/>
                  </a:lnTo>
                  <a:lnTo>
                    <a:pt x="997" y="1072"/>
                  </a:lnTo>
                  <a:lnTo>
                    <a:pt x="998" y="1072"/>
                  </a:lnTo>
                  <a:lnTo>
                    <a:pt x="999" y="1072"/>
                  </a:lnTo>
                  <a:lnTo>
                    <a:pt x="1000" y="1072"/>
                  </a:lnTo>
                  <a:lnTo>
                    <a:pt x="1000" y="1071"/>
                  </a:lnTo>
                  <a:lnTo>
                    <a:pt x="1001" y="1070"/>
                  </a:lnTo>
                  <a:lnTo>
                    <a:pt x="1003" y="1070"/>
                  </a:lnTo>
                  <a:lnTo>
                    <a:pt x="1006" y="1068"/>
                  </a:lnTo>
                  <a:lnTo>
                    <a:pt x="1006" y="1073"/>
                  </a:lnTo>
                  <a:lnTo>
                    <a:pt x="1006" y="1074"/>
                  </a:lnTo>
                  <a:lnTo>
                    <a:pt x="1006" y="1075"/>
                  </a:lnTo>
                  <a:lnTo>
                    <a:pt x="1005" y="1076"/>
                  </a:lnTo>
                  <a:lnTo>
                    <a:pt x="1005" y="1078"/>
                  </a:lnTo>
                  <a:lnTo>
                    <a:pt x="1006" y="1080"/>
                  </a:lnTo>
                  <a:lnTo>
                    <a:pt x="1009" y="1081"/>
                  </a:lnTo>
                  <a:lnTo>
                    <a:pt x="1011" y="1083"/>
                  </a:lnTo>
                  <a:lnTo>
                    <a:pt x="1013" y="1084"/>
                  </a:lnTo>
                  <a:lnTo>
                    <a:pt x="1014" y="1087"/>
                  </a:lnTo>
                  <a:lnTo>
                    <a:pt x="1015" y="1090"/>
                  </a:lnTo>
                  <a:lnTo>
                    <a:pt x="1015" y="1092"/>
                  </a:lnTo>
                  <a:lnTo>
                    <a:pt x="1017" y="1095"/>
                  </a:lnTo>
                  <a:lnTo>
                    <a:pt x="1018" y="1097"/>
                  </a:lnTo>
                  <a:lnTo>
                    <a:pt x="1020" y="1098"/>
                  </a:lnTo>
                  <a:lnTo>
                    <a:pt x="1021" y="1098"/>
                  </a:lnTo>
                  <a:lnTo>
                    <a:pt x="1022" y="1099"/>
                  </a:lnTo>
                  <a:lnTo>
                    <a:pt x="1024" y="1102"/>
                  </a:lnTo>
                  <a:lnTo>
                    <a:pt x="1025" y="1105"/>
                  </a:lnTo>
                  <a:lnTo>
                    <a:pt x="1025" y="1108"/>
                  </a:lnTo>
                  <a:lnTo>
                    <a:pt x="1025" y="1111"/>
                  </a:lnTo>
                  <a:lnTo>
                    <a:pt x="1024" y="1117"/>
                  </a:lnTo>
                  <a:lnTo>
                    <a:pt x="1022" y="1122"/>
                  </a:lnTo>
                  <a:lnTo>
                    <a:pt x="1025" y="1124"/>
                  </a:lnTo>
                  <a:lnTo>
                    <a:pt x="1026" y="1125"/>
                  </a:lnTo>
                  <a:lnTo>
                    <a:pt x="1027" y="1127"/>
                  </a:lnTo>
                  <a:lnTo>
                    <a:pt x="1028" y="1128"/>
                  </a:lnTo>
                  <a:lnTo>
                    <a:pt x="1034" y="1126"/>
                  </a:lnTo>
                  <a:lnTo>
                    <a:pt x="1034" y="1122"/>
                  </a:lnTo>
                  <a:lnTo>
                    <a:pt x="1036" y="1120"/>
                  </a:lnTo>
                  <a:lnTo>
                    <a:pt x="1039" y="1125"/>
                  </a:lnTo>
                  <a:lnTo>
                    <a:pt x="1043" y="1128"/>
                  </a:lnTo>
                  <a:lnTo>
                    <a:pt x="1046" y="1131"/>
                  </a:lnTo>
                  <a:lnTo>
                    <a:pt x="1051" y="1134"/>
                  </a:lnTo>
                  <a:lnTo>
                    <a:pt x="1050" y="1140"/>
                  </a:lnTo>
                  <a:lnTo>
                    <a:pt x="1051" y="1143"/>
                  </a:lnTo>
                  <a:lnTo>
                    <a:pt x="1051" y="1147"/>
                  </a:lnTo>
                  <a:lnTo>
                    <a:pt x="1052" y="1148"/>
                  </a:lnTo>
                  <a:lnTo>
                    <a:pt x="1053" y="1147"/>
                  </a:lnTo>
                  <a:lnTo>
                    <a:pt x="1053" y="1146"/>
                  </a:lnTo>
                  <a:lnTo>
                    <a:pt x="1053" y="1142"/>
                  </a:lnTo>
                  <a:lnTo>
                    <a:pt x="1057" y="1142"/>
                  </a:lnTo>
                  <a:lnTo>
                    <a:pt x="1059" y="1149"/>
                  </a:lnTo>
                  <a:lnTo>
                    <a:pt x="1063" y="1149"/>
                  </a:lnTo>
                  <a:lnTo>
                    <a:pt x="1067" y="1149"/>
                  </a:lnTo>
                  <a:lnTo>
                    <a:pt x="1071" y="1149"/>
                  </a:lnTo>
                  <a:lnTo>
                    <a:pt x="1074" y="1150"/>
                  </a:lnTo>
                  <a:lnTo>
                    <a:pt x="1076" y="1151"/>
                  </a:lnTo>
                  <a:lnTo>
                    <a:pt x="1076" y="1157"/>
                  </a:lnTo>
                  <a:lnTo>
                    <a:pt x="1078" y="1157"/>
                  </a:lnTo>
                  <a:lnTo>
                    <a:pt x="1080" y="1157"/>
                  </a:lnTo>
                  <a:lnTo>
                    <a:pt x="1082" y="1157"/>
                  </a:lnTo>
                  <a:lnTo>
                    <a:pt x="1084" y="1157"/>
                  </a:lnTo>
                  <a:lnTo>
                    <a:pt x="1084" y="1161"/>
                  </a:lnTo>
                  <a:lnTo>
                    <a:pt x="1091" y="1162"/>
                  </a:lnTo>
                  <a:lnTo>
                    <a:pt x="1093" y="1163"/>
                  </a:lnTo>
                  <a:lnTo>
                    <a:pt x="1097" y="1163"/>
                  </a:lnTo>
                  <a:lnTo>
                    <a:pt x="1098" y="1162"/>
                  </a:lnTo>
                  <a:lnTo>
                    <a:pt x="1097" y="1162"/>
                  </a:lnTo>
                  <a:lnTo>
                    <a:pt x="1093" y="1161"/>
                  </a:lnTo>
                  <a:lnTo>
                    <a:pt x="1093" y="1162"/>
                  </a:lnTo>
                  <a:lnTo>
                    <a:pt x="1092" y="1161"/>
                  </a:lnTo>
                  <a:lnTo>
                    <a:pt x="1092" y="1160"/>
                  </a:lnTo>
                  <a:lnTo>
                    <a:pt x="1095" y="1159"/>
                  </a:lnTo>
                  <a:lnTo>
                    <a:pt x="1094" y="1156"/>
                  </a:lnTo>
                  <a:lnTo>
                    <a:pt x="1093" y="1154"/>
                  </a:lnTo>
                  <a:lnTo>
                    <a:pt x="1093" y="1153"/>
                  </a:lnTo>
                  <a:lnTo>
                    <a:pt x="1090" y="1153"/>
                  </a:lnTo>
                  <a:lnTo>
                    <a:pt x="1090" y="1149"/>
                  </a:lnTo>
                  <a:lnTo>
                    <a:pt x="1099" y="1143"/>
                  </a:lnTo>
                  <a:lnTo>
                    <a:pt x="1098" y="1144"/>
                  </a:lnTo>
                  <a:lnTo>
                    <a:pt x="1098" y="1142"/>
                  </a:lnTo>
                  <a:lnTo>
                    <a:pt x="1101" y="1140"/>
                  </a:lnTo>
                  <a:lnTo>
                    <a:pt x="1102" y="1140"/>
                  </a:lnTo>
                  <a:lnTo>
                    <a:pt x="1103" y="1139"/>
                  </a:lnTo>
                  <a:lnTo>
                    <a:pt x="1105" y="1138"/>
                  </a:lnTo>
                  <a:lnTo>
                    <a:pt x="1109" y="1144"/>
                  </a:lnTo>
                  <a:lnTo>
                    <a:pt x="1113" y="1151"/>
                  </a:lnTo>
                  <a:lnTo>
                    <a:pt x="1120" y="1149"/>
                  </a:lnTo>
                  <a:lnTo>
                    <a:pt x="1118" y="1153"/>
                  </a:lnTo>
                  <a:lnTo>
                    <a:pt x="1116" y="1165"/>
                  </a:lnTo>
                  <a:lnTo>
                    <a:pt x="1118" y="1166"/>
                  </a:lnTo>
                  <a:lnTo>
                    <a:pt x="1119" y="1168"/>
                  </a:lnTo>
                  <a:lnTo>
                    <a:pt x="1121" y="1169"/>
                  </a:lnTo>
                  <a:lnTo>
                    <a:pt x="1122" y="1170"/>
                  </a:lnTo>
                  <a:lnTo>
                    <a:pt x="1123" y="1170"/>
                  </a:lnTo>
                  <a:lnTo>
                    <a:pt x="1125" y="1170"/>
                  </a:lnTo>
                  <a:lnTo>
                    <a:pt x="1127" y="1170"/>
                  </a:lnTo>
                  <a:lnTo>
                    <a:pt x="1128" y="1170"/>
                  </a:lnTo>
                  <a:lnTo>
                    <a:pt x="1128" y="1181"/>
                  </a:lnTo>
                  <a:lnTo>
                    <a:pt x="1129" y="1185"/>
                  </a:lnTo>
                  <a:lnTo>
                    <a:pt x="1129" y="1187"/>
                  </a:lnTo>
                  <a:lnTo>
                    <a:pt x="1130" y="1188"/>
                  </a:lnTo>
                  <a:lnTo>
                    <a:pt x="1128" y="1195"/>
                  </a:lnTo>
                  <a:lnTo>
                    <a:pt x="1126" y="1203"/>
                  </a:lnTo>
                  <a:lnTo>
                    <a:pt x="1125" y="1211"/>
                  </a:lnTo>
                  <a:lnTo>
                    <a:pt x="1122" y="1220"/>
                  </a:lnTo>
                  <a:lnTo>
                    <a:pt x="1126" y="1222"/>
                  </a:lnTo>
                  <a:lnTo>
                    <a:pt x="1130" y="1224"/>
                  </a:lnTo>
                  <a:lnTo>
                    <a:pt x="1126" y="1229"/>
                  </a:lnTo>
                  <a:lnTo>
                    <a:pt x="1122" y="1233"/>
                  </a:lnTo>
                  <a:lnTo>
                    <a:pt x="1116" y="1236"/>
                  </a:lnTo>
                  <a:lnTo>
                    <a:pt x="1111" y="1239"/>
                  </a:lnTo>
                  <a:lnTo>
                    <a:pt x="1112" y="1241"/>
                  </a:lnTo>
                  <a:lnTo>
                    <a:pt x="1112" y="1242"/>
                  </a:lnTo>
                  <a:lnTo>
                    <a:pt x="1110" y="1244"/>
                  </a:lnTo>
                  <a:lnTo>
                    <a:pt x="1109" y="1246"/>
                  </a:lnTo>
                  <a:lnTo>
                    <a:pt x="1109" y="1248"/>
                  </a:lnTo>
                  <a:lnTo>
                    <a:pt x="1110" y="1249"/>
                  </a:lnTo>
                  <a:lnTo>
                    <a:pt x="1113" y="1251"/>
                  </a:lnTo>
                  <a:lnTo>
                    <a:pt x="1111" y="1251"/>
                  </a:lnTo>
                  <a:lnTo>
                    <a:pt x="1109" y="1251"/>
                  </a:lnTo>
                  <a:lnTo>
                    <a:pt x="1105" y="1251"/>
                  </a:lnTo>
                  <a:lnTo>
                    <a:pt x="1105" y="1252"/>
                  </a:lnTo>
                  <a:lnTo>
                    <a:pt x="1106" y="1253"/>
                  </a:lnTo>
                  <a:lnTo>
                    <a:pt x="1107" y="1257"/>
                  </a:lnTo>
                  <a:lnTo>
                    <a:pt x="1093" y="1266"/>
                  </a:lnTo>
                  <a:lnTo>
                    <a:pt x="1096" y="1269"/>
                  </a:lnTo>
                  <a:lnTo>
                    <a:pt x="1096" y="1272"/>
                  </a:lnTo>
                  <a:lnTo>
                    <a:pt x="1096" y="1275"/>
                  </a:lnTo>
                  <a:lnTo>
                    <a:pt x="1095" y="1277"/>
                  </a:lnTo>
                  <a:lnTo>
                    <a:pt x="1091" y="1281"/>
                  </a:lnTo>
                  <a:lnTo>
                    <a:pt x="1090" y="1284"/>
                  </a:lnTo>
                  <a:lnTo>
                    <a:pt x="1089" y="1287"/>
                  </a:lnTo>
                  <a:lnTo>
                    <a:pt x="1090" y="1290"/>
                  </a:lnTo>
                  <a:lnTo>
                    <a:pt x="1091" y="1292"/>
                  </a:lnTo>
                  <a:lnTo>
                    <a:pt x="1091" y="1295"/>
                  </a:lnTo>
                  <a:lnTo>
                    <a:pt x="1090" y="1297"/>
                  </a:lnTo>
                  <a:lnTo>
                    <a:pt x="1088" y="1298"/>
                  </a:lnTo>
                  <a:lnTo>
                    <a:pt x="1084" y="1301"/>
                  </a:lnTo>
                  <a:lnTo>
                    <a:pt x="1085" y="1303"/>
                  </a:lnTo>
                  <a:lnTo>
                    <a:pt x="1086" y="1303"/>
                  </a:lnTo>
                  <a:lnTo>
                    <a:pt x="1087" y="1303"/>
                  </a:lnTo>
                  <a:lnTo>
                    <a:pt x="1088" y="1303"/>
                  </a:lnTo>
                  <a:lnTo>
                    <a:pt x="1086" y="1309"/>
                  </a:lnTo>
                  <a:lnTo>
                    <a:pt x="1085" y="1309"/>
                  </a:lnTo>
                  <a:lnTo>
                    <a:pt x="1085" y="1312"/>
                  </a:lnTo>
                  <a:lnTo>
                    <a:pt x="1085" y="1314"/>
                  </a:lnTo>
                  <a:lnTo>
                    <a:pt x="1085" y="1315"/>
                  </a:lnTo>
                  <a:lnTo>
                    <a:pt x="1086" y="1316"/>
                  </a:lnTo>
                  <a:lnTo>
                    <a:pt x="1088" y="1316"/>
                  </a:lnTo>
                  <a:lnTo>
                    <a:pt x="1086" y="1320"/>
                  </a:lnTo>
                  <a:lnTo>
                    <a:pt x="1085" y="1323"/>
                  </a:lnTo>
                  <a:lnTo>
                    <a:pt x="1084" y="1324"/>
                  </a:lnTo>
                  <a:lnTo>
                    <a:pt x="1086" y="1325"/>
                  </a:lnTo>
                  <a:lnTo>
                    <a:pt x="1089" y="1326"/>
                  </a:lnTo>
                  <a:lnTo>
                    <a:pt x="1092" y="1327"/>
                  </a:lnTo>
                  <a:lnTo>
                    <a:pt x="1093" y="1328"/>
                  </a:lnTo>
                  <a:lnTo>
                    <a:pt x="1093" y="1329"/>
                  </a:lnTo>
                  <a:lnTo>
                    <a:pt x="1093" y="1330"/>
                  </a:lnTo>
                  <a:lnTo>
                    <a:pt x="1093" y="1331"/>
                  </a:lnTo>
                  <a:lnTo>
                    <a:pt x="1093" y="1334"/>
                  </a:lnTo>
                  <a:lnTo>
                    <a:pt x="1086" y="1340"/>
                  </a:lnTo>
                  <a:lnTo>
                    <a:pt x="1083" y="1343"/>
                  </a:lnTo>
                  <a:lnTo>
                    <a:pt x="1081" y="1345"/>
                  </a:lnTo>
                  <a:lnTo>
                    <a:pt x="1079" y="1348"/>
                  </a:lnTo>
                  <a:lnTo>
                    <a:pt x="1078" y="1351"/>
                  </a:lnTo>
                  <a:lnTo>
                    <a:pt x="1078" y="1352"/>
                  </a:lnTo>
                  <a:lnTo>
                    <a:pt x="1078" y="1354"/>
                  </a:lnTo>
                  <a:lnTo>
                    <a:pt x="1080" y="1357"/>
                  </a:lnTo>
                  <a:lnTo>
                    <a:pt x="1082" y="1360"/>
                  </a:lnTo>
                  <a:lnTo>
                    <a:pt x="1080" y="1362"/>
                  </a:lnTo>
                  <a:lnTo>
                    <a:pt x="1079" y="1363"/>
                  </a:lnTo>
                  <a:lnTo>
                    <a:pt x="1080" y="1364"/>
                  </a:lnTo>
                  <a:lnTo>
                    <a:pt x="1084" y="1366"/>
                  </a:lnTo>
                  <a:lnTo>
                    <a:pt x="1084" y="1368"/>
                  </a:lnTo>
                  <a:lnTo>
                    <a:pt x="1084" y="1369"/>
                  </a:lnTo>
                  <a:lnTo>
                    <a:pt x="1082" y="1371"/>
                  </a:lnTo>
                  <a:lnTo>
                    <a:pt x="1082" y="1373"/>
                  </a:lnTo>
                  <a:lnTo>
                    <a:pt x="1082" y="1375"/>
                  </a:lnTo>
                  <a:lnTo>
                    <a:pt x="1082" y="1376"/>
                  </a:lnTo>
                  <a:lnTo>
                    <a:pt x="1083" y="1377"/>
                  </a:lnTo>
                  <a:lnTo>
                    <a:pt x="1084" y="1378"/>
                  </a:lnTo>
                  <a:lnTo>
                    <a:pt x="1088" y="1381"/>
                  </a:lnTo>
                  <a:lnTo>
                    <a:pt x="1093" y="1383"/>
                  </a:lnTo>
                  <a:lnTo>
                    <a:pt x="1095" y="1385"/>
                  </a:lnTo>
                  <a:lnTo>
                    <a:pt x="1097" y="1388"/>
                  </a:lnTo>
                  <a:lnTo>
                    <a:pt x="1097" y="1390"/>
                  </a:lnTo>
                  <a:lnTo>
                    <a:pt x="1098" y="1393"/>
                  </a:lnTo>
                  <a:lnTo>
                    <a:pt x="1099" y="1395"/>
                  </a:lnTo>
                  <a:lnTo>
                    <a:pt x="1101" y="1396"/>
                  </a:lnTo>
                  <a:lnTo>
                    <a:pt x="1103" y="1397"/>
                  </a:lnTo>
                  <a:lnTo>
                    <a:pt x="1105" y="1398"/>
                  </a:lnTo>
                  <a:lnTo>
                    <a:pt x="1107" y="1399"/>
                  </a:lnTo>
                  <a:lnTo>
                    <a:pt x="1108" y="1401"/>
                  </a:lnTo>
                  <a:lnTo>
                    <a:pt x="1109" y="1403"/>
                  </a:lnTo>
                  <a:lnTo>
                    <a:pt x="1110" y="1406"/>
                  </a:lnTo>
                  <a:lnTo>
                    <a:pt x="1111" y="1408"/>
                  </a:lnTo>
                  <a:lnTo>
                    <a:pt x="1112" y="1410"/>
                  </a:lnTo>
                  <a:lnTo>
                    <a:pt x="1114" y="1411"/>
                  </a:lnTo>
                  <a:lnTo>
                    <a:pt x="1117" y="1413"/>
                  </a:lnTo>
                  <a:lnTo>
                    <a:pt x="1118" y="1414"/>
                  </a:lnTo>
                  <a:lnTo>
                    <a:pt x="1122" y="1421"/>
                  </a:lnTo>
                  <a:lnTo>
                    <a:pt x="1124" y="1429"/>
                  </a:lnTo>
                  <a:lnTo>
                    <a:pt x="1126" y="1437"/>
                  </a:lnTo>
                  <a:lnTo>
                    <a:pt x="1128" y="1447"/>
                  </a:lnTo>
                  <a:lnTo>
                    <a:pt x="1130" y="1452"/>
                  </a:lnTo>
                  <a:lnTo>
                    <a:pt x="1132" y="1458"/>
                  </a:lnTo>
                  <a:lnTo>
                    <a:pt x="1139" y="1472"/>
                  </a:lnTo>
                  <a:lnTo>
                    <a:pt x="1143" y="1480"/>
                  </a:lnTo>
                  <a:lnTo>
                    <a:pt x="1145" y="1486"/>
                  </a:lnTo>
                  <a:lnTo>
                    <a:pt x="1147" y="1492"/>
                  </a:lnTo>
                  <a:lnTo>
                    <a:pt x="1147" y="1497"/>
                  </a:lnTo>
                  <a:lnTo>
                    <a:pt x="1145" y="1501"/>
                  </a:lnTo>
                  <a:lnTo>
                    <a:pt x="1147" y="1502"/>
                  </a:lnTo>
                  <a:lnTo>
                    <a:pt x="1149" y="1504"/>
                  </a:lnTo>
                  <a:lnTo>
                    <a:pt x="1151" y="1506"/>
                  </a:lnTo>
                  <a:lnTo>
                    <a:pt x="1153" y="1508"/>
                  </a:lnTo>
                  <a:lnTo>
                    <a:pt x="1154" y="1512"/>
                  </a:lnTo>
                  <a:lnTo>
                    <a:pt x="1155" y="1514"/>
                  </a:lnTo>
                  <a:lnTo>
                    <a:pt x="1155" y="1517"/>
                  </a:lnTo>
                  <a:lnTo>
                    <a:pt x="1157" y="1520"/>
                  </a:lnTo>
                  <a:lnTo>
                    <a:pt x="1158" y="1521"/>
                  </a:lnTo>
                  <a:lnTo>
                    <a:pt x="1159" y="1522"/>
                  </a:lnTo>
                  <a:lnTo>
                    <a:pt x="1163" y="1524"/>
                  </a:lnTo>
                  <a:lnTo>
                    <a:pt x="1167" y="1526"/>
                  </a:lnTo>
                  <a:lnTo>
                    <a:pt x="1170" y="1527"/>
                  </a:lnTo>
                  <a:lnTo>
                    <a:pt x="1171" y="1529"/>
                  </a:lnTo>
                  <a:lnTo>
                    <a:pt x="1172" y="1530"/>
                  </a:lnTo>
                  <a:lnTo>
                    <a:pt x="1173" y="1532"/>
                  </a:lnTo>
                  <a:lnTo>
                    <a:pt x="1174" y="1533"/>
                  </a:lnTo>
                  <a:lnTo>
                    <a:pt x="1193" y="1544"/>
                  </a:lnTo>
                  <a:lnTo>
                    <a:pt x="1202" y="1550"/>
                  </a:lnTo>
                  <a:lnTo>
                    <a:pt x="1206" y="1554"/>
                  </a:lnTo>
                  <a:lnTo>
                    <a:pt x="1209" y="1558"/>
                  </a:lnTo>
                  <a:lnTo>
                    <a:pt x="1213" y="1564"/>
                  </a:lnTo>
                  <a:lnTo>
                    <a:pt x="1215" y="1568"/>
                  </a:lnTo>
                  <a:lnTo>
                    <a:pt x="1216" y="1572"/>
                  </a:lnTo>
                  <a:lnTo>
                    <a:pt x="1217" y="1575"/>
                  </a:lnTo>
                  <a:lnTo>
                    <a:pt x="1218" y="1579"/>
                  </a:lnTo>
                  <a:lnTo>
                    <a:pt x="1218" y="1587"/>
                  </a:lnTo>
                  <a:lnTo>
                    <a:pt x="1219" y="1595"/>
                  </a:lnTo>
                  <a:lnTo>
                    <a:pt x="1218" y="1604"/>
                  </a:lnTo>
                  <a:lnTo>
                    <a:pt x="1217" y="1622"/>
                  </a:lnTo>
                  <a:lnTo>
                    <a:pt x="1216" y="1632"/>
                  </a:lnTo>
                  <a:lnTo>
                    <a:pt x="1216" y="1642"/>
                  </a:lnTo>
                  <a:lnTo>
                    <a:pt x="1212" y="1642"/>
                  </a:lnTo>
                  <a:lnTo>
                    <a:pt x="1213" y="1645"/>
                  </a:lnTo>
                  <a:lnTo>
                    <a:pt x="1214" y="1647"/>
                  </a:lnTo>
                  <a:lnTo>
                    <a:pt x="1215" y="1648"/>
                  </a:lnTo>
                  <a:lnTo>
                    <a:pt x="1216" y="1649"/>
                  </a:lnTo>
                  <a:lnTo>
                    <a:pt x="1212" y="1659"/>
                  </a:lnTo>
                  <a:lnTo>
                    <a:pt x="1212" y="1662"/>
                  </a:lnTo>
                  <a:lnTo>
                    <a:pt x="1212" y="1665"/>
                  </a:lnTo>
                  <a:lnTo>
                    <a:pt x="1213" y="1672"/>
                  </a:lnTo>
                  <a:lnTo>
                    <a:pt x="1214" y="1677"/>
                  </a:lnTo>
                  <a:lnTo>
                    <a:pt x="1214" y="1682"/>
                  </a:lnTo>
                  <a:lnTo>
                    <a:pt x="1210" y="1688"/>
                  </a:lnTo>
                  <a:lnTo>
                    <a:pt x="1210" y="1693"/>
                  </a:lnTo>
                  <a:lnTo>
                    <a:pt x="1209" y="1699"/>
                  </a:lnTo>
                  <a:lnTo>
                    <a:pt x="1208" y="1714"/>
                  </a:lnTo>
                  <a:lnTo>
                    <a:pt x="1207" y="1722"/>
                  </a:lnTo>
                  <a:lnTo>
                    <a:pt x="1206" y="1729"/>
                  </a:lnTo>
                  <a:lnTo>
                    <a:pt x="1204" y="1734"/>
                  </a:lnTo>
                  <a:lnTo>
                    <a:pt x="1202" y="1736"/>
                  </a:lnTo>
                  <a:lnTo>
                    <a:pt x="1201" y="1738"/>
                  </a:lnTo>
                  <a:lnTo>
                    <a:pt x="1205" y="1749"/>
                  </a:lnTo>
                  <a:lnTo>
                    <a:pt x="1206" y="1750"/>
                  </a:lnTo>
                  <a:lnTo>
                    <a:pt x="1206" y="1751"/>
                  </a:lnTo>
                  <a:lnTo>
                    <a:pt x="1207" y="1753"/>
                  </a:lnTo>
                  <a:lnTo>
                    <a:pt x="1205" y="1758"/>
                  </a:lnTo>
                  <a:lnTo>
                    <a:pt x="1203" y="1762"/>
                  </a:lnTo>
                  <a:lnTo>
                    <a:pt x="1202" y="1767"/>
                  </a:lnTo>
                  <a:lnTo>
                    <a:pt x="1201" y="1772"/>
                  </a:lnTo>
                  <a:lnTo>
                    <a:pt x="1202" y="1777"/>
                  </a:lnTo>
                  <a:lnTo>
                    <a:pt x="1204" y="1784"/>
                  </a:lnTo>
                  <a:lnTo>
                    <a:pt x="1205" y="1793"/>
                  </a:lnTo>
                  <a:lnTo>
                    <a:pt x="1205" y="1797"/>
                  </a:lnTo>
                  <a:lnTo>
                    <a:pt x="1205" y="1801"/>
                  </a:lnTo>
                  <a:lnTo>
                    <a:pt x="1203" y="1803"/>
                  </a:lnTo>
                  <a:lnTo>
                    <a:pt x="1201" y="1804"/>
                  </a:lnTo>
                  <a:lnTo>
                    <a:pt x="1198" y="1805"/>
                  </a:lnTo>
                  <a:lnTo>
                    <a:pt x="1197" y="1807"/>
                  </a:lnTo>
                  <a:lnTo>
                    <a:pt x="1196" y="1810"/>
                  </a:lnTo>
                  <a:lnTo>
                    <a:pt x="1196" y="1814"/>
                  </a:lnTo>
                  <a:lnTo>
                    <a:pt x="1197" y="1822"/>
                  </a:lnTo>
                  <a:lnTo>
                    <a:pt x="1195" y="1823"/>
                  </a:lnTo>
                  <a:lnTo>
                    <a:pt x="1193" y="1824"/>
                  </a:lnTo>
                  <a:lnTo>
                    <a:pt x="1189" y="1842"/>
                  </a:lnTo>
                  <a:lnTo>
                    <a:pt x="1187" y="1849"/>
                  </a:lnTo>
                  <a:lnTo>
                    <a:pt x="1187" y="1850"/>
                  </a:lnTo>
                  <a:lnTo>
                    <a:pt x="1187" y="1849"/>
                  </a:lnTo>
                  <a:lnTo>
                    <a:pt x="1188" y="1850"/>
                  </a:lnTo>
                  <a:lnTo>
                    <a:pt x="1189" y="1850"/>
                  </a:lnTo>
                  <a:lnTo>
                    <a:pt x="1189" y="1851"/>
                  </a:lnTo>
                  <a:lnTo>
                    <a:pt x="1189" y="1852"/>
                  </a:lnTo>
                  <a:lnTo>
                    <a:pt x="1187" y="1853"/>
                  </a:lnTo>
                  <a:lnTo>
                    <a:pt x="1185" y="1861"/>
                  </a:lnTo>
                  <a:lnTo>
                    <a:pt x="1182" y="1871"/>
                  </a:lnTo>
                  <a:lnTo>
                    <a:pt x="1181" y="1876"/>
                  </a:lnTo>
                  <a:lnTo>
                    <a:pt x="1179" y="1880"/>
                  </a:lnTo>
                  <a:lnTo>
                    <a:pt x="1176" y="1883"/>
                  </a:lnTo>
                  <a:lnTo>
                    <a:pt x="1174" y="1884"/>
                  </a:lnTo>
                  <a:lnTo>
                    <a:pt x="1180" y="1886"/>
                  </a:lnTo>
                  <a:lnTo>
                    <a:pt x="1180" y="1892"/>
                  </a:lnTo>
                  <a:lnTo>
                    <a:pt x="1182" y="1899"/>
                  </a:lnTo>
                  <a:lnTo>
                    <a:pt x="1183" y="1908"/>
                  </a:lnTo>
                  <a:lnTo>
                    <a:pt x="1184" y="1917"/>
                  </a:lnTo>
                  <a:lnTo>
                    <a:pt x="1184" y="1924"/>
                  </a:lnTo>
                  <a:lnTo>
                    <a:pt x="1180" y="1924"/>
                  </a:lnTo>
                  <a:lnTo>
                    <a:pt x="1177" y="1937"/>
                  </a:lnTo>
                  <a:lnTo>
                    <a:pt x="1176" y="1943"/>
                  </a:lnTo>
                  <a:lnTo>
                    <a:pt x="1176" y="1948"/>
                  </a:lnTo>
                  <a:lnTo>
                    <a:pt x="1176" y="1950"/>
                  </a:lnTo>
                  <a:lnTo>
                    <a:pt x="1176" y="1952"/>
                  </a:lnTo>
                  <a:lnTo>
                    <a:pt x="1177" y="1953"/>
                  </a:lnTo>
                  <a:lnTo>
                    <a:pt x="1179" y="1954"/>
                  </a:lnTo>
                  <a:lnTo>
                    <a:pt x="1181" y="1955"/>
                  </a:lnTo>
                  <a:lnTo>
                    <a:pt x="1183" y="1955"/>
                  </a:lnTo>
                  <a:lnTo>
                    <a:pt x="1189" y="1955"/>
                  </a:lnTo>
                  <a:lnTo>
                    <a:pt x="1188" y="1966"/>
                  </a:lnTo>
                  <a:lnTo>
                    <a:pt x="1188" y="1973"/>
                  </a:lnTo>
                  <a:lnTo>
                    <a:pt x="1187" y="1980"/>
                  </a:lnTo>
                  <a:lnTo>
                    <a:pt x="1184" y="1982"/>
                  </a:lnTo>
                  <a:lnTo>
                    <a:pt x="1184" y="1984"/>
                  </a:lnTo>
                  <a:lnTo>
                    <a:pt x="1184" y="1986"/>
                  </a:lnTo>
                  <a:lnTo>
                    <a:pt x="1186" y="1988"/>
                  </a:lnTo>
                  <a:lnTo>
                    <a:pt x="1187" y="1991"/>
                  </a:lnTo>
                  <a:lnTo>
                    <a:pt x="1187" y="1993"/>
                  </a:lnTo>
                  <a:lnTo>
                    <a:pt x="1187" y="1995"/>
                  </a:lnTo>
                  <a:lnTo>
                    <a:pt x="1186" y="1997"/>
                  </a:lnTo>
                  <a:lnTo>
                    <a:pt x="1184" y="1998"/>
                  </a:lnTo>
                  <a:lnTo>
                    <a:pt x="1182" y="2000"/>
                  </a:lnTo>
                  <a:lnTo>
                    <a:pt x="1182" y="2001"/>
                  </a:lnTo>
                  <a:lnTo>
                    <a:pt x="1184" y="2001"/>
                  </a:lnTo>
                  <a:lnTo>
                    <a:pt x="1184" y="2005"/>
                  </a:lnTo>
                  <a:lnTo>
                    <a:pt x="1181" y="2003"/>
                  </a:lnTo>
                  <a:lnTo>
                    <a:pt x="1180" y="2003"/>
                  </a:lnTo>
                  <a:lnTo>
                    <a:pt x="1179" y="2008"/>
                  </a:lnTo>
                  <a:lnTo>
                    <a:pt x="1178" y="2013"/>
                  </a:lnTo>
                  <a:lnTo>
                    <a:pt x="1178" y="2021"/>
                  </a:lnTo>
                  <a:lnTo>
                    <a:pt x="1178" y="2030"/>
                  </a:lnTo>
                  <a:lnTo>
                    <a:pt x="1178" y="2035"/>
                  </a:lnTo>
                  <a:lnTo>
                    <a:pt x="1178" y="2041"/>
                  </a:lnTo>
                  <a:lnTo>
                    <a:pt x="1176" y="2040"/>
                  </a:lnTo>
                  <a:lnTo>
                    <a:pt x="1174" y="2038"/>
                  </a:lnTo>
                  <a:lnTo>
                    <a:pt x="1172" y="2037"/>
                  </a:lnTo>
                  <a:lnTo>
                    <a:pt x="1170" y="2037"/>
                  </a:lnTo>
                  <a:lnTo>
                    <a:pt x="1171" y="2038"/>
                  </a:lnTo>
                  <a:lnTo>
                    <a:pt x="1172" y="2039"/>
                  </a:lnTo>
                  <a:lnTo>
                    <a:pt x="1170" y="2040"/>
                  </a:lnTo>
                  <a:lnTo>
                    <a:pt x="1168" y="2041"/>
                  </a:lnTo>
                  <a:lnTo>
                    <a:pt x="1166" y="2041"/>
                  </a:lnTo>
                  <a:lnTo>
                    <a:pt x="1166" y="2040"/>
                  </a:lnTo>
                  <a:lnTo>
                    <a:pt x="1167" y="2039"/>
                  </a:lnTo>
                  <a:lnTo>
                    <a:pt x="1168" y="2037"/>
                  </a:lnTo>
                  <a:lnTo>
                    <a:pt x="1164" y="2036"/>
                  </a:lnTo>
                  <a:lnTo>
                    <a:pt x="1161" y="2033"/>
                  </a:lnTo>
                  <a:lnTo>
                    <a:pt x="1160" y="2035"/>
                  </a:lnTo>
                  <a:lnTo>
                    <a:pt x="1159" y="2035"/>
                  </a:lnTo>
                  <a:lnTo>
                    <a:pt x="1158" y="2035"/>
                  </a:lnTo>
                  <a:lnTo>
                    <a:pt x="1157" y="2035"/>
                  </a:lnTo>
                  <a:lnTo>
                    <a:pt x="1157" y="2039"/>
                  </a:lnTo>
                  <a:lnTo>
                    <a:pt x="1155" y="2044"/>
                  </a:lnTo>
                  <a:lnTo>
                    <a:pt x="1153" y="2051"/>
                  </a:lnTo>
                  <a:lnTo>
                    <a:pt x="1159" y="2047"/>
                  </a:lnTo>
                  <a:lnTo>
                    <a:pt x="1159" y="2053"/>
                  </a:lnTo>
                  <a:lnTo>
                    <a:pt x="1162" y="2052"/>
                  </a:lnTo>
                  <a:lnTo>
                    <a:pt x="1164" y="2053"/>
                  </a:lnTo>
                  <a:lnTo>
                    <a:pt x="1164" y="2052"/>
                  </a:lnTo>
                  <a:lnTo>
                    <a:pt x="1165" y="2051"/>
                  </a:lnTo>
                  <a:lnTo>
                    <a:pt x="1167" y="2050"/>
                  </a:lnTo>
                  <a:lnTo>
                    <a:pt x="1168" y="2049"/>
                  </a:lnTo>
                  <a:lnTo>
                    <a:pt x="1170" y="2050"/>
                  </a:lnTo>
                  <a:lnTo>
                    <a:pt x="1171" y="2051"/>
                  </a:lnTo>
                  <a:lnTo>
                    <a:pt x="1172" y="2053"/>
                  </a:lnTo>
                  <a:lnTo>
                    <a:pt x="1172" y="2055"/>
                  </a:lnTo>
                  <a:lnTo>
                    <a:pt x="1171" y="2058"/>
                  </a:lnTo>
                  <a:lnTo>
                    <a:pt x="1170" y="2060"/>
                  </a:lnTo>
                  <a:lnTo>
                    <a:pt x="1171" y="2061"/>
                  </a:lnTo>
                  <a:lnTo>
                    <a:pt x="1173" y="2064"/>
                  </a:lnTo>
                  <a:lnTo>
                    <a:pt x="1174" y="2065"/>
                  </a:lnTo>
                  <a:lnTo>
                    <a:pt x="1173" y="2066"/>
                  </a:lnTo>
                  <a:lnTo>
                    <a:pt x="1171" y="2066"/>
                  </a:lnTo>
                  <a:lnTo>
                    <a:pt x="1168" y="2066"/>
                  </a:lnTo>
                  <a:lnTo>
                    <a:pt x="1169" y="2082"/>
                  </a:lnTo>
                  <a:lnTo>
                    <a:pt x="1168" y="2097"/>
                  </a:lnTo>
                  <a:lnTo>
                    <a:pt x="1170" y="2095"/>
                  </a:lnTo>
                  <a:lnTo>
                    <a:pt x="1171" y="2094"/>
                  </a:lnTo>
                  <a:lnTo>
                    <a:pt x="1172" y="2093"/>
                  </a:lnTo>
                  <a:lnTo>
                    <a:pt x="1173" y="2093"/>
                  </a:lnTo>
                  <a:lnTo>
                    <a:pt x="1173" y="2094"/>
                  </a:lnTo>
                  <a:lnTo>
                    <a:pt x="1171" y="2097"/>
                  </a:lnTo>
                  <a:lnTo>
                    <a:pt x="1168" y="2101"/>
                  </a:lnTo>
                  <a:lnTo>
                    <a:pt x="1168" y="2102"/>
                  </a:lnTo>
                  <a:lnTo>
                    <a:pt x="1167" y="2105"/>
                  </a:lnTo>
                  <a:lnTo>
                    <a:pt x="1167" y="2107"/>
                  </a:lnTo>
                  <a:lnTo>
                    <a:pt x="1166" y="2108"/>
                  </a:lnTo>
                  <a:lnTo>
                    <a:pt x="1165" y="2109"/>
                  </a:lnTo>
                  <a:lnTo>
                    <a:pt x="1164" y="2108"/>
                  </a:lnTo>
                  <a:lnTo>
                    <a:pt x="1165" y="2107"/>
                  </a:lnTo>
                  <a:lnTo>
                    <a:pt x="1164" y="2106"/>
                  </a:lnTo>
                  <a:lnTo>
                    <a:pt x="1165" y="2097"/>
                  </a:lnTo>
                  <a:lnTo>
                    <a:pt x="1165" y="2089"/>
                  </a:lnTo>
                  <a:lnTo>
                    <a:pt x="1164" y="2080"/>
                  </a:lnTo>
                  <a:lnTo>
                    <a:pt x="1162" y="2072"/>
                  </a:lnTo>
                  <a:lnTo>
                    <a:pt x="1159" y="2072"/>
                  </a:lnTo>
                  <a:lnTo>
                    <a:pt x="1155" y="2072"/>
                  </a:lnTo>
                  <a:lnTo>
                    <a:pt x="1155" y="2073"/>
                  </a:lnTo>
                  <a:lnTo>
                    <a:pt x="1156" y="2074"/>
                  </a:lnTo>
                  <a:lnTo>
                    <a:pt x="1157" y="2075"/>
                  </a:lnTo>
                  <a:lnTo>
                    <a:pt x="1157" y="2076"/>
                  </a:lnTo>
                  <a:lnTo>
                    <a:pt x="1153" y="2078"/>
                  </a:lnTo>
                  <a:lnTo>
                    <a:pt x="1151" y="2080"/>
                  </a:lnTo>
                  <a:lnTo>
                    <a:pt x="1151" y="2081"/>
                  </a:lnTo>
                  <a:lnTo>
                    <a:pt x="1151" y="2082"/>
                  </a:lnTo>
                  <a:lnTo>
                    <a:pt x="1151" y="2084"/>
                  </a:lnTo>
                  <a:lnTo>
                    <a:pt x="1153" y="2088"/>
                  </a:lnTo>
                  <a:lnTo>
                    <a:pt x="1154" y="2091"/>
                  </a:lnTo>
                  <a:lnTo>
                    <a:pt x="1155" y="2093"/>
                  </a:lnTo>
                  <a:lnTo>
                    <a:pt x="1155" y="2096"/>
                  </a:lnTo>
                  <a:lnTo>
                    <a:pt x="1155" y="2097"/>
                  </a:lnTo>
                  <a:lnTo>
                    <a:pt x="1154" y="2097"/>
                  </a:lnTo>
                  <a:lnTo>
                    <a:pt x="1153" y="2098"/>
                  </a:lnTo>
                  <a:lnTo>
                    <a:pt x="1151" y="2099"/>
                  </a:lnTo>
                  <a:lnTo>
                    <a:pt x="1152" y="2102"/>
                  </a:lnTo>
                  <a:lnTo>
                    <a:pt x="1153" y="2104"/>
                  </a:lnTo>
                  <a:lnTo>
                    <a:pt x="1153" y="2106"/>
                  </a:lnTo>
                  <a:lnTo>
                    <a:pt x="1159" y="2108"/>
                  </a:lnTo>
                  <a:lnTo>
                    <a:pt x="1164" y="2108"/>
                  </a:lnTo>
                  <a:lnTo>
                    <a:pt x="1164" y="2114"/>
                  </a:lnTo>
                  <a:lnTo>
                    <a:pt x="1166" y="2114"/>
                  </a:lnTo>
                  <a:lnTo>
                    <a:pt x="1167" y="2114"/>
                  </a:lnTo>
                  <a:lnTo>
                    <a:pt x="1169" y="2114"/>
                  </a:lnTo>
                  <a:lnTo>
                    <a:pt x="1170" y="2114"/>
                  </a:lnTo>
                  <a:lnTo>
                    <a:pt x="1170" y="2115"/>
                  </a:lnTo>
                  <a:lnTo>
                    <a:pt x="1170" y="2117"/>
                  </a:lnTo>
                  <a:lnTo>
                    <a:pt x="1170" y="2119"/>
                  </a:lnTo>
                  <a:lnTo>
                    <a:pt x="1170" y="2120"/>
                  </a:lnTo>
                  <a:lnTo>
                    <a:pt x="1167" y="2118"/>
                  </a:lnTo>
                  <a:lnTo>
                    <a:pt x="1164" y="2116"/>
                  </a:lnTo>
                  <a:lnTo>
                    <a:pt x="1165" y="2117"/>
                  </a:lnTo>
                  <a:lnTo>
                    <a:pt x="1166" y="2118"/>
                  </a:lnTo>
                  <a:lnTo>
                    <a:pt x="1166" y="2122"/>
                  </a:lnTo>
                  <a:lnTo>
                    <a:pt x="1165" y="2124"/>
                  </a:lnTo>
                  <a:lnTo>
                    <a:pt x="1165" y="2123"/>
                  </a:lnTo>
                  <a:lnTo>
                    <a:pt x="1164" y="2122"/>
                  </a:lnTo>
                  <a:lnTo>
                    <a:pt x="1162" y="2121"/>
                  </a:lnTo>
                  <a:lnTo>
                    <a:pt x="1159" y="2120"/>
                  </a:lnTo>
                  <a:lnTo>
                    <a:pt x="1159" y="2126"/>
                  </a:lnTo>
                  <a:lnTo>
                    <a:pt x="1157" y="2126"/>
                  </a:lnTo>
                  <a:lnTo>
                    <a:pt x="1157" y="2131"/>
                  </a:lnTo>
                  <a:lnTo>
                    <a:pt x="1157" y="2137"/>
                  </a:lnTo>
                  <a:lnTo>
                    <a:pt x="1160" y="2137"/>
                  </a:lnTo>
                  <a:lnTo>
                    <a:pt x="1162" y="2137"/>
                  </a:lnTo>
                  <a:lnTo>
                    <a:pt x="1164" y="2133"/>
                  </a:lnTo>
                  <a:lnTo>
                    <a:pt x="1165" y="2131"/>
                  </a:lnTo>
                  <a:lnTo>
                    <a:pt x="1166" y="2129"/>
                  </a:lnTo>
                  <a:lnTo>
                    <a:pt x="1167" y="2132"/>
                  </a:lnTo>
                  <a:lnTo>
                    <a:pt x="1168" y="2133"/>
                  </a:lnTo>
                  <a:lnTo>
                    <a:pt x="1168" y="2129"/>
                  </a:lnTo>
                  <a:lnTo>
                    <a:pt x="1167" y="2126"/>
                  </a:lnTo>
                  <a:lnTo>
                    <a:pt x="1168" y="2125"/>
                  </a:lnTo>
                  <a:lnTo>
                    <a:pt x="1170" y="2124"/>
                  </a:lnTo>
                  <a:lnTo>
                    <a:pt x="1170" y="2120"/>
                  </a:lnTo>
                  <a:lnTo>
                    <a:pt x="1171" y="2121"/>
                  </a:lnTo>
                  <a:lnTo>
                    <a:pt x="1172" y="2122"/>
                  </a:lnTo>
                  <a:lnTo>
                    <a:pt x="1174" y="2122"/>
                  </a:lnTo>
                  <a:lnTo>
                    <a:pt x="1175" y="2122"/>
                  </a:lnTo>
                  <a:lnTo>
                    <a:pt x="1176" y="2122"/>
                  </a:lnTo>
                  <a:lnTo>
                    <a:pt x="1173" y="2124"/>
                  </a:lnTo>
                  <a:lnTo>
                    <a:pt x="1172" y="2126"/>
                  </a:lnTo>
                  <a:lnTo>
                    <a:pt x="1171" y="2128"/>
                  </a:lnTo>
                  <a:lnTo>
                    <a:pt x="1171" y="2130"/>
                  </a:lnTo>
                  <a:lnTo>
                    <a:pt x="1171" y="2132"/>
                  </a:lnTo>
                  <a:lnTo>
                    <a:pt x="1172" y="2132"/>
                  </a:lnTo>
                  <a:lnTo>
                    <a:pt x="1172" y="2131"/>
                  </a:lnTo>
                  <a:lnTo>
                    <a:pt x="1174" y="2131"/>
                  </a:lnTo>
                  <a:lnTo>
                    <a:pt x="1173" y="2135"/>
                  </a:lnTo>
                  <a:lnTo>
                    <a:pt x="1173" y="2138"/>
                  </a:lnTo>
                  <a:lnTo>
                    <a:pt x="1172" y="2138"/>
                  </a:lnTo>
                  <a:lnTo>
                    <a:pt x="1172" y="2137"/>
                  </a:lnTo>
                  <a:lnTo>
                    <a:pt x="1172" y="2141"/>
                  </a:lnTo>
                  <a:lnTo>
                    <a:pt x="1170" y="2141"/>
                  </a:lnTo>
                  <a:lnTo>
                    <a:pt x="1169" y="2140"/>
                  </a:lnTo>
                  <a:lnTo>
                    <a:pt x="1168" y="2139"/>
                  </a:lnTo>
                  <a:lnTo>
                    <a:pt x="1166" y="2139"/>
                  </a:lnTo>
                  <a:lnTo>
                    <a:pt x="1166" y="2143"/>
                  </a:lnTo>
                  <a:lnTo>
                    <a:pt x="1163" y="2143"/>
                  </a:lnTo>
                  <a:lnTo>
                    <a:pt x="1162" y="2142"/>
                  </a:lnTo>
                  <a:lnTo>
                    <a:pt x="1164" y="2141"/>
                  </a:lnTo>
                  <a:lnTo>
                    <a:pt x="1162" y="2141"/>
                  </a:lnTo>
                  <a:lnTo>
                    <a:pt x="1160" y="2141"/>
                  </a:lnTo>
                  <a:lnTo>
                    <a:pt x="1155" y="2141"/>
                  </a:lnTo>
                  <a:lnTo>
                    <a:pt x="1156" y="2145"/>
                  </a:lnTo>
                  <a:lnTo>
                    <a:pt x="1158" y="2149"/>
                  </a:lnTo>
                  <a:lnTo>
                    <a:pt x="1160" y="2156"/>
                  </a:lnTo>
                  <a:lnTo>
                    <a:pt x="1162" y="2159"/>
                  </a:lnTo>
                  <a:lnTo>
                    <a:pt x="1164" y="2162"/>
                  </a:lnTo>
                  <a:lnTo>
                    <a:pt x="1166" y="2164"/>
                  </a:lnTo>
                  <a:lnTo>
                    <a:pt x="1170" y="2166"/>
                  </a:lnTo>
                  <a:lnTo>
                    <a:pt x="1174" y="2166"/>
                  </a:lnTo>
                  <a:lnTo>
                    <a:pt x="1176" y="2167"/>
                  </a:lnTo>
                  <a:lnTo>
                    <a:pt x="1177" y="2166"/>
                  </a:lnTo>
                  <a:lnTo>
                    <a:pt x="1176" y="2166"/>
                  </a:lnTo>
                  <a:lnTo>
                    <a:pt x="1171" y="2163"/>
                  </a:lnTo>
                  <a:lnTo>
                    <a:pt x="1167" y="2160"/>
                  </a:lnTo>
                  <a:lnTo>
                    <a:pt x="1166" y="2159"/>
                  </a:lnTo>
                  <a:lnTo>
                    <a:pt x="1166" y="2158"/>
                  </a:lnTo>
                  <a:lnTo>
                    <a:pt x="1168" y="2158"/>
                  </a:lnTo>
                  <a:lnTo>
                    <a:pt x="1172" y="2158"/>
                  </a:lnTo>
                  <a:lnTo>
                    <a:pt x="1172" y="2155"/>
                  </a:lnTo>
                  <a:lnTo>
                    <a:pt x="1172" y="2152"/>
                  </a:lnTo>
                  <a:lnTo>
                    <a:pt x="1172" y="2149"/>
                  </a:lnTo>
                  <a:lnTo>
                    <a:pt x="1172" y="2148"/>
                  </a:lnTo>
                  <a:lnTo>
                    <a:pt x="1172" y="2147"/>
                  </a:lnTo>
                  <a:lnTo>
                    <a:pt x="1170" y="2145"/>
                  </a:lnTo>
                  <a:lnTo>
                    <a:pt x="1169" y="2144"/>
                  </a:lnTo>
                  <a:lnTo>
                    <a:pt x="1168" y="2143"/>
                  </a:lnTo>
                  <a:lnTo>
                    <a:pt x="1171" y="2143"/>
                  </a:lnTo>
                  <a:lnTo>
                    <a:pt x="1173" y="2142"/>
                  </a:lnTo>
                  <a:lnTo>
                    <a:pt x="1174" y="2141"/>
                  </a:lnTo>
                  <a:lnTo>
                    <a:pt x="1176" y="2141"/>
                  </a:lnTo>
                  <a:lnTo>
                    <a:pt x="1177" y="2143"/>
                  </a:lnTo>
                  <a:lnTo>
                    <a:pt x="1178" y="2144"/>
                  </a:lnTo>
                  <a:lnTo>
                    <a:pt x="1180" y="2145"/>
                  </a:lnTo>
                  <a:lnTo>
                    <a:pt x="1182" y="2142"/>
                  </a:lnTo>
                  <a:lnTo>
                    <a:pt x="1184" y="2139"/>
                  </a:lnTo>
                  <a:lnTo>
                    <a:pt x="1185" y="2139"/>
                  </a:lnTo>
                  <a:lnTo>
                    <a:pt x="1186" y="2139"/>
                  </a:lnTo>
                  <a:lnTo>
                    <a:pt x="1188" y="2141"/>
                  </a:lnTo>
                  <a:lnTo>
                    <a:pt x="1189" y="2142"/>
                  </a:lnTo>
                  <a:lnTo>
                    <a:pt x="1189" y="2143"/>
                  </a:lnTo>
                  <a:lnTo>
                    <a:pt x="1187" y="2143"/>
                  </a:lnTo>
                  <a:lnTo>
                    <a:pt x="1186" y="2145"/>
                  </a:lnTo>
                  <a:lnTo>
                    <a:pt x="1186" y="2144"/>
                  </a:lnTo>
                  <a:lnTo>
                    <a:pt x="1185" y="2143"/>
                  </a:lnTo>
                  <a:lnTo>
                    <a:pt x="1184" y="2142"/>
                  </a:lnTo>
                  <a:lnTo>
                    <a:pt x="1184" y="2143"/>
                  </a:lnTo>
                  <a:lnTo>
                    <a:pt x="1183" y="2147"/>
                  </a:lnTo>
                  <a:lnTo>
                    <a:pt x="1184" y="2151"/>
                  </a:lnTo>
                  <a:lnTo>
                    <a:pt x="1183" y="2150"/>
                  </a:lnTo>
                  <a:lnTo>
                    <a:pt x="1181" y="2149"/>
                  </a:lnTo>
                  <a:lnTo>
                    <a:pt x="1180" y="2147"/>
                  </a:lnTo>
                  <a:lnTo>
                    <a:pt x="1176" y="2149"/>
                  </a:lnTo>
                  <a:lnTo>
                    <a:pt x="1175" y="2150"/>
                  </a:lnTo>
                  <a:lnTo>
                    <a:pt x="1175" y="2151"/>
                  </a:lnTo>
                  <a:lnTo>
                    <a:pt x="1176" y="2151"/>
                  </a:lnTo>
                  <a:lnTo>
                    <a:pt x="1177" y="2158"/>
                  </a:lnTo>
                  <a:lnTo>
                    <a:pt x="1178" y="2164"/>
                  </a:lnTo>
                  <a:lnTo>
                    <a:pt x="1181" y="2164"/>
                  </a:lnTo>
                  <a:lnTo>
                    <a:pt x="1183" y="2165"/>
                  </a:lnTo>
                  <a:lnTo>
                    <a:pt x="1182" y="2165"/>
                  </a:lnTo>
                  <a:lnTo>
                    <a:pt x="1178" y="2166"/>
                  </a:lnTo>
                  <a:lnTo>
                    <a:pt x="1177" y="2169"/>
                  </a:lnTo>
                  <a:lnTo>
                    <a:pt x="1177" y="2171"/>
                  </a:lnTo>
                  <a:lnTo>
                    <a:pt x="1177" y="2173"/>
                  </a:lnTo>
                  <a:lnTo>
                    <a:pt x="1176" y="2176"/>
                  </a:lnTo>
                  <a:lnTo>
                    <a:pt x="1180" y="2177"/>
                  </a:lnTo>
                  <a:lnTo>
                    <a:pt x="1182" y="2178"/>
                  </a:lnTo>
                  <a:lnTo>
                    <a:pt x="1182" y="2177"/>
                  </a:lnTo>
                  <a:lnTo>
                    <a:pt x="1184" y="2177"/>
                  </a:lnTo>
                  <a:lnTo>
                    <a:pt x="1184" y="2181"/>
                  </a:lnTo>
                  <a:lnTo>
                    <a:pt x="1182" y="2181"/>
                  </a:lnTo>
                  <a:lnTo>
                    <a:pt x="1184" y="2183"/>
                  </a:lnTo>
                  <a:lnTo>
                    <a:pt x="1189" y="2185"/>
                  </a:lnTo>
                  <a:lnTo>
                    <a:pt x="1190" y="2185"/>
                  </a:lnTo>
                  <a:lnTo>
                    <a:pt x="1191" y="2184"/>
                  </a:lnTo>
                  <a:lnTo>
                    <a:pt x="1192" y="2182"/>
                  </a:lnTo>
                  <a:lnTo>
                    <a:pt x="1191" y="2181"/>
                  </a:lnTo>
                  <a:lnTo>
                    <a:pt x="1191" y="2180"/>
                  </a:lnTo>
                  <a:lnTo>
                    <a:pt x="1189" y="2179"/>
                  </a:lnTo>
                  <a:lnTo>
                    <a:pt x="1191" y="2174"/>
                  </a:lnTo>
                  <a:lnTo>
                    <a:pt x="1187" y="2173"/>
                  </a:lnTo>
                  <a:lnTo>
                    <a:pt x="1186" y="2173"/>
                  </a:lnTo>
                  <a:lnTo>
                    <a:pt x="1186" y="2172"/>
                  </a:lnTo>
                  <a:lnTo>
                    <a:pt x="1187" y="2171"/>
                  </a:lnTo>
                  <a:lnTo>
                    <a:pt x="1190" y="2170"/>
                  </a:lnTo>
                  <a:lnTo>
                    <a:pt x="1189" y="2170"/>
                  </a:lnTo>
                  <a:lnTo>
                    <a:pt x="1190" y="2169"/>
                  </a:lnTo>
                  <a:lnTo>
                    <a:pt x="1190" y="2168"/>
                  </a:lnTo>
                  <a:lnTo>
                    <a:pt x="1191" y="2167"/>
                  </a:lnTo>
                  <a:lnTo>
                    <a:pt x="1193" y="2168"/>
                  </a:lnTo>
                  <a:lnTo>
                    <a:pt x="1194" y="2171"/>
                  </a:lnTo>
                  <a:lnTo>
                    <a:pt x="1194" y="2174"/>
                  </a:lnTo>
                  <a:lnTo>
                    <a:pt x="1195" y="2176"/>
                  </a:lnTo>
                  <a:lnTo>
                    <a:pt x="1197" y="2176"/>
                  </a:lnTo>
                  <a:lnTo>
                    <a:pt x="1200" y="2177"/>
                  </a:lnTo>
                  <a:lnTo>
                    <a:pt x="1205" y="2177"/>
                  </a:lnTo>
                  <a:lnTo>
                    <a:pt x="1205" y="2183"/>
                  </a:lnTo>
                  <a:lnTo>
                    <a:pt x="1200" y="2182"/>
                  </a:lnTo>
                  <a:lnTo>
                    <a:pt x="1193" y="2179"/>
                  </a:lnTo>
                  <a:lnTo>
                    <a:pt x="1197" y="2187"/>
                  </a:lnTo>
                  <a:lnTo>
                    <a:pt x="1202" y="2186"/>
                  </a:lnTo>
                  <a:lnTo>
                    <a:pt x="1205" y="2185"/>
                  </a:lnTo>
                  <a:lnTo>
                    <a:pt x="1209" y="2185"/>
                  </a:lnTo>
                  <a:lnTo>
                    <a:pt x="1210" y="2186"/>
                  </a:lnTo>
                  <a:lnTo>
                    <a:pt x="1211" y="2186"/>
                  </a:lnTo>
                  <a:lnTo>
                    <a:pt x="1209" y="2187"/>
                  </a:lnTo>
                  <a:lnTo>
                    <a:pt x="1206" y="2188"/>
                  </a:lnTo>
                  <a:lnTo>
                    <a:pt x="1193" y="2191"/>
                  </a:lnTo>
                  <a:lnTo>
                    <a:pt x="1193" y="2197"/>
                  </a:lnTo>
                  <a:lnTo>
                    <a:pt x="1195" y="2196"/>
                  </a:lnTo>
                  <a:lnTo>
                    <a:pt x="1195" y="2195"/>
                  </a:lnTo>
                  <a:lnTo>
                    <a:pt x="1195" y="2193"/>
                  </a:lnTo>
                  <a:lnTo>
                    <a:pt x="1200" y="2194"/>
                  </a:lnTo>
                  <a:lnTo>
                    <a:pt x="1207" y="2195"/>
                  </a:lnTo>
                  <a:lnTo>
                    <a:pt x="1207" y="2199"/>
                  </a:lnTo>
                  <a:lnTo>
                    <a:pt x="1209" y="2199"/>
                  </a:lnTo>
                  <a:lnTo>
                    <a:pt x="1211" y="2198"/>
                  </a:lnTo>
                  <a:lnTo>
                    <a:pt x="1214" y="2198"/>
                  </a:lnTo>
                  <a:lnTo>
                    <a:pt x="1215" y="2198"/>
                  </a:lnTo>
                  <a:lnTo>
                    <a:pt x="1216" y="2199"/>
                  </a:lnTo>
                  <a:lnTo>
                    <a:pt x="1217" y="2199"/>
                  </a:lnTo>
                  <a:lnTo>
                    <a:pt x="1216" y="2200"/>
                  </a:lnTo>
                  <a:lnTo>
                    <a:pt x="1217" y="2201"/>
                  </a:lnTo>
                  <a:lnTo>
                    <a:pt x="1218" y="2202"/>
                  </a:lnTo>
                  <a:lnTo>
                    <a:pt x="1222" y="2200"/>
                  </a:lnTo>
                  <a:lnTo>
                    <a:pt x="1222" y="2201"/>
                  </a:lnTo>
                  <a:lnTo>
                    <a:pt x="1222" y="2202"/>
                  </a:lnTo>
                  <a:lnTo>
                    <a:pt x="1222" y="2203"/>
                  </a:lnTo>
                  <a:lnTo>
                    <a:pt x="1221" y="2204"/>
                  </a:lnTo>
                  <a:lnTo>
                    <a:pt x="1216" y="2204"/>
                  </a:lnTo>
                  <a:lnTo>
                    <a:pt x="1218" y="2207"/>
                  </a:lnTo>
                  <a:lnTo>
                    <a:pt x="1220" y="2210"/>
                  </a:lnTo>
                  <a:lnTo>
                    <a:pt x="1222" y="2210"/>
                  </a:lnTo>
                  <a:lnTo>
                    <a:pt x="1224" y="2211"/>
                  </a:lnTo>
                  <a:lnTo>
                    <a:pt x="1226" y="2212"/>
                  </a:lnTo>
                  <a:lnTo>
                    <a:pt x="1228" y="2212"/>
                  </a:lnTo>
                  <a:lnTo>
                    <a:pt x="1229" y="2212"/>
                  </a:lnTo>
                  <a:lnTo>
                    <a:pt x="1229" y="2211"/>
                  </a:lnTo>
                  <a:lnTo>
                    <a:pt x="1229" y="2210"/>
                  </a:lnTo>
                  <a:lnTo>
                    <a:pt x="1228" y="2208"/>
                  </a:lnTo>
                  <a:lnTo>
                    <a:pt x="1228" y="2207"/>
                  </a:lnTo>
                  <a:lnTo>
                    <a:pt x="1230" y="2206"/>
                  </a:lnTo>
                  <a:lnTo>
                    <a:pt x="1233" y="2206"/>
                  </a:lnTo>
                  <a:lnTo>
                    <a:pt x="1237" y="2207"/>
                  </a:lnTo>
                  <a:lnTo>
                    <a:pt x="1239" y="2206"/>
                  </a:lnTo>
                  <a:lnTo>
                    <a:pt x="1237" y="2204"/>
                  </a:lnTo>
                  <a:lnTo>
                    <a:pt x="1237" y="2200"/>
                  </a:lnTo>
                  <a:lnTo>
                    <a:pt x="1234" y="2200"/>
                  </a:lnTo>
                  <a:lnTo>
                    <a:pt x="1232" y="2199"/>
                  </a:lnTo>
                  <a:lnTo>
                    <a:pt x="1233" y="2199"/>
                  </a:lnTo>
                  <a:lnTo>
                    <a:pt x="1235" y="2199"/>
                  </a:lnTo>
                  <a:lnTo>
                    <a:pt x="1237" y="2198"/>
                  </a:lnTo>
                  <a:lnTo>
                    <a:pt x="1239" y="2199"/>
                  </a:lnTo>
                  <a:lnTo>
                    <a:pt x="1245" y="2208"/>
                  </a:lnTo>
                  <a:lnTo>
                    <a:pt x="1249" y="2208"/>
                  </a:lnTo>
                  <a:lnTo>
                    <a:pt x="1250" y="2206"/>
                  </a:lnTo>
                  <a:lnTo>
                    <a:pt x="1251" y="2205"/>
                  </a:lnTo>
                  <a:lnTo>
                    <a:pt x="1252" y="2204"/>
                  </a:lnTo>
                  <a:lnTo>
                    <a:pt x="1253" y="2204"/>
                  </a:lnTo>
                  <a:lnTo>
                    <a:pt x="1253" y="2201"/>
                  </a:lnTo>
                  <a:lnTo>
                    <a:pt x="1254" y="2199"/>
                  </a:lnTo>
                  <a:lnTo>
                    <a:pt x="1255" y="2199"/>
                  </a:lnTo>
                  <a:lnTo>
                    <a:pt x="1257" y="2198"/>
                  </a:lnTo>
                  <a:lnTo>
                    <a:pt x="1260" y="2197"/>
                  </a:lnTo>
                  <a:lnTo>
                    <a:pt x="1263" y="2197"/>
                  </a:lnTo>
                  <a:lnTo>
                    <a:pt x="1266" y="2197"/>
                  </a:lnTo>
                  <a:lnTo>
                    <a:pt x="1271" y="2198"/>
                  </a:lnTo>
                  <a:lnTo>
                    <a:pt x="1276" y="2199"/>
                  </a:lnTo>
                  <a:lnTo>
                    <a:pt x="1275" y="2198"/>
                  </a:lnTo>
                  <a:lnTo>
                    <a:pt x="1275" y="2196"/>
                  </a:lnTo>
                  <a:lnTo>
                    <a:pt x="1274" y="2194"/>
                  </a:lnTo>
                  <a:lnTo>
                    <a:pt x="1274" y="2193"/>
                  </a:lnTo>
                  <a:lnTo>
                    <a:pt x="1272" y="2192"/>
                  </a:lnTo>
                  <a:lnTo>
                    <a:pt x="1270" y="2192"/>
                  </a:lnTo>
                  <a:lnTo>
                    <a:pt x="1266" y="2192"/>
                  </a:lnTo>
                  <a:lnTo>
                    <a:pt x="1263" y="2192"/>
                  </a:lnTo>
                  <a:lnTo>
                    <a:pt x="1260" y="2192"/>
                  </a:lnTo>
                  <a:lnTo>
                    <a:pt x="1258" y="2191"/>
                  </a:lnTo>
                  <a:lnTo>
                    <a:pt x="1239" y="2174"/>
                  </a:lnTo>
                  <a:lnTo>
                    <a:pt x="1239" y="2172"/>
                  </a:lnTo>
                  <a:lnTo>
                    <a:pt x="1239" y="2170"/>
                  </a:lnTo>
                  <a:lnTo>
                    <a:pt x="1239" y="2166"/>
                  </a:lnTo>
                  <a:lnTo>
                    <a:pt x="1239" y="2162"/>
                  </a:lnTo>
                  <a:lnTo>
                    <a:pt x="1239" y="2160"/>
                  </a:lnTo>
                  <a:lnTo>
                    <a:pt x="1235" y="2158"/>
                  </a:lnTo>
                  <a:lnTo>
                    <a:pt x="1230" y="2156"/>
                  </a:lnTo>
                  <a:lnTo>
                    <a:pt x="1224" y="2154"/>
                  </a:lnTo>
                  <a:lnTo>
                    <a:pt x="1225" y="2153"/>
                  </a:lnTo>
                  <a:lnTo>
                    <a:pt x="1226" y="2151"/>
                  </a:lnTo>
                  <a:lnTo>
                    <a:pt x="1228" y="2147"/>
                  </a:lnTo>
                  <a:lnTo>
                    <a:pt x="1231" y="2147"/>
                  </a:lnTo>
                  <a:lnTo>
                    <a:pt x="1232" y="2147"/>
                  </a:lnTo>
                  <a:lnTo>
                    <a:pt x="1232" y="2148"/>
                  </a:lnTo>
                  <a:lnTo>
                    <a:pt x="1232" y="2149"/>
                  </a:lnTo>
                  <a:lnTo>
                    <a:pt x="1237" y="2149"/>
                  </a:lnTo>
                  <a:lnTo>
                    <a:pt x="1237" y="2148"/>
                  </a:lnTo>
                  <a:lnTo>
                    <a:pt x="1236" y="2145"/>
                  </a:lnTo>
                  <a:lnTo>
                    <a:pt x="1235" y="2139"/>
                  </a:lnTo>
                  <a:lnTo>
                    <a:pt x="1228" y="2139"/>
                  </a:lnTo>
                  <a:lnTo>
                    <a:pt x="1230" y="2138"/>
                  </a:lnTo>
                  <a:lnTo>
                    <a:pt x="1231" y="2136"/>
                  </a:lnTo>
                  <a:lnTo>
                    <a:pt x="1231" y="2131"/>
                  </a:lnTo>
                  <a:lnTo>
                    <a:pt x="1230" y="2125"/>
                  </a:lnTo>
                  <a:lnTo>
                    <a:pt x="1230" y="2122"/>
                  </a:lnTo>
                  <a:lnTo>
                    <a:pt x="1232" y="2120"/>
                  </a:lnTo>
                  <a:lnTo>
                    <a:pt x="1233" y="2119"/>
                  </a:lnTo>
                  <a:lnTo>
                    <a:pt x="1236" y="2118"/>
                  </a:lnTo>
                  <a:lnTo>
                    <a:pt x="1238" y="2117"/>
                  </a:lnTo>
                  <a:lnTo>
                    <a:pt x="1239" y="2116"/>
                  </a:lnTo>
                  <a:lnTo>
                    <a:pt x="1238" y="2113"/>
                  </a:lnTo>
                  <a:lnTo>
                    <a:pt x="1237" y="2112"/>
                  </a:lnTo>
                  <a:lnTo>
                    <a:pt x="1233" y="2110"/>
                  </a:lnTo>
                  <a:lnTo>
                    <a:pt x="1235" y="2106"/>
                  </a:lnTo>
                  <a:lnTo>
                    <a:pt x="1236" y="2105"/>
                  </a:lnTo>
                  <a:lnTo>
                    <a:pt x="1235" y="2103"/>
                  </a:lnTo>
                  <a:lnTo>
                    <a:pt x="1238" y="2104"/>
                  </a:lnTo>
                  <a:lnTo>
                    <a:pt x="1239" y="2106"/>
                  </a:lnTo>
                  <a:lnTo>
                    <a:pt x="1239" y="2110"/>
                  </a:lnTo>
                  <a:lnTo>
                    <a:pt x="1244" y="2109"/>
                  </a:lnTo>
                  <a:lnTo>
                    <a:pt x="1247" y="2108"/>
                  </a:lnTo>
                  <a:lnTo>
                    <a:pt x="1249" y="2108"/>
                  </a:lnTo>
                  <a:lnTo>
                    <a:pt x="1249" y="2105"/>
                  </a:lnTo>
                  <a:lnTo>
                    <a:pt x="1249" y="2101"/>
                  </a:lnTo>
                  <a:lnTo>
                    <a:pt x="1249" y="2098"/>
                  </a:lnTo>
                  <a:lnTo>
                    <a:pt x="1249" y="2095"/>
                  </a:lnTo>
                  <a:lnTo>
                    <a:pt x="1251" y="2090"/>
                  </a:lnTo>
                  <a:lnTo>
                    <a:pt x="1253" y="2088"/>
                  </a:lnTo>
                  <a:lnTo>
                    <a:pt x="1254" y="2086"/>
                  </a:lnTo>
                  <a:lnTo>
                    <a:pt x="1258" y="2082"/>
                  </a:lnTo>
                  <a:lnTo>
                    <a:pt x="1263" y="2078"/>
                  </a:lnTo>
                  <a:lnTo>
                    <a:pt x="1274" y="2070"/>
                  </a:lnTo>
                  <a:lnTo>
                    <a:pt x="1272" y="2069"/>
                  </a:lnTo>
                  <a:lnTo>
                    <a:pt x="1271" y="2067"/>
                  </a:lnTo>
                  <a:lnTo>
                    <a:pt x="1270" y="2065"/>
                  </a:lnTo>
                  <a:lnTo>
                    <a:pt x="1270" y="2063"/>
                  </a:lnTo>
                  <a:lnTo>
                    <a:pt x="1270" y="2061"/>
                  </a:lnTo>
                  <a:lnTo>
                    <a:pt x="1271" y="2057"/>
                  </a:lnTo>
                  <a:lnTo>
                    <a:pt x="1271" y="2056"/>
                  </a:lnTo>
                  <a:lnTo>
                    <a:pt x="1270" y="2055"/>
                  </a:lnTo>
                  <a:lnTo>
                    <a:pt x="1268" y="2053"/>
                  </a:lnTo>
                  <a:lnTo>
                    <a:pt x="1266" y="2052"/>
                  </a:lnTo>
                  <a:lnTo>
                    <a:pt x="1264" y="2052"/>
                  </a:lnTo>
                  <a:lnTo>
                    <a:pt x="1262" y="2053"/>
                  </a:lnTo>
                  <a:lnTo>
                    <a:pt x="1260" y="2053"/>
                  </a:lnTo>
                  <a:lnTo>
                    <a:pt x="1258" y="2050"/>
                  </a:lnTo>
                  <a:lnTo>
                    <a:pt x="1257" y="2047"/>
                  </a:lnTo>
                  <a:lnTo>
                    <a:pt x="1253" y="2044"/>
                  </a:lnTo>
                  <a:lnTo>
                    <a:pt x="1250" y="2041"/>
                  </a:lnTo>
                  <a:lnTo>
                    <a:pt x="1249" y="2038"/>
                  </a:lnTo>
                  <a:lnTo>
                    <a:pt x="1249" y="2036"/>
                  </a:lnTo>
                  <a:lnTo>
                    <a:pt x="1250" y="2034"/>
                  </a:lnTo>
                  <a:lnTo>
                    <a:pt x="1251" y="2031"/>
                  </a:lnTo>
                  <a:lnTo>
                    <a:pt x="1257" y="2026"/>
                  </a:lnTo>
                  <a:lnTo>
                    <a:pt x="1266" y="2014"/>
                  </a:lnTo>
                  <a:lnTo>
                    <a:pt x="1269" y="2014"/>
                  </a:lnTo>
                  <a:lnTo>
                    <a:pt x="1272" y="2015"/>
                  </a:lnTo>
                  <a:lnTo>
                    <a:pt x="1274" y="2016"/>
                  </a:lnTo>
                  <a:lnTo>
                    <a:pt x="1275" y="2017"/>
                  </a:lnTo>
                  <a:lnTo>
                    <a:pt x="1276" y="2016"/>
                  </a:lnTo>
                  <a:lnTo>
                    <a:pt x="1276" y="2010"/>
                  </a:lnTo>
                  <a:lnTo>
                    <a:pt x="1275" y="2011"/>
                  </a:lnTo>
                  <a:lnTo>
                    <a:pt x="1274" y="2010"/>
                  </a:lnTo>
                  <a:lnTo>
                    <a:pt x="1273" y="2008"/>
                  </a:lnTo>
                  <a:lnTo>
                    <a:pt x="1274" y="2007"/>
                  </a:lnTo>
                  <a:lnTo>
                    <a:pt x="1275" y="2006"/>
                  </a:lnTo>
                  <a:lnTo>
                    <a:pt x="1276" y="2005"/>
                  </a:lnTo>
                  <a:lnTo>
                    <a:pt x="1280" y="2005"/>
                  </a:lnTo>
                  <a:lnTo>
                    <a:pt x="1280" y="1992"/>
                  </a:lnTo>
                  <a:lnTo>
                    <a:pt x="1280" y="1987"/>
                  </a:lnTo>
                  <a:lnTo>
                    <a:pt x="1281" y="1982"/>
                  </a:lnTo>
                  <a:lnTo>
                    <a:pt x="1285" y="1980"/>
                  </a:lnTo>
                  <a:lnTo>
                    <a:pt x="1287" y="1979"/>
                  </a:lnTo>
                  <a:lnTo>
                    <a:pt x="1289" y="1979"/>
                  </a:lnTo>
                  <a:lnTo>
                    <a:pt x="1290" y="1978"/>
                  </a:lnTo>
                  <a:lnTo>
                    <a:pt x="1290" y="1977"/>
                  </a:lnTo>
                  <a:lnTo>
                    <a:pt x="1290" y="1976"/>
                  </a:lnTo>
                  <a:lnTo>
                    <a:pt x="1289" y="1975"/>
                  </a:lnTo>
                  <a:lnTo>
                    <a:pt x="1287" y="1974"/>
                  </a:lnTo>
                  <a:lnTo>
                    <a:pt x="1283" y="1974"/>
                  </a:lnTo>
                  <a:lnTo>
                    <a:pt x="1285" y="1970"/>
                  </a:lnTo>
                  <a:lnTo>
                    <a:pt x="1287" y="1970"/>
                  </a:lnTo>
                  <a:lnTo>
                    <a:pt x="1289" y="1970"/>
                  </a:lnTo>
                  <a:lnTo>
                    <a:pt x="1291" y="1970"/>
                  </a:lnTo>
                  <a:lnTo>
                    <a:pt x="1293" y="1970"/>
                  </a:lnTo>
                  <a:lnTo>
                    <a:pt x="1294" y="1971"/>
                  </a:lnTo>
                  <a:lnTo>
                    <a:pt x="1295" y="1972"/>
                  </a:lnTo>
                  <a:lnTo>
                    <a:pt x="1296" y="1974"/>
                  </a:lnTo>
                  <a:lnTo>
                    <a:pt x="1296" y="1975"/>
                  </a:lnTo>
                  <a:lnTo>
                    <a:pt x="1297" y="1975"/>
                  </a:lnTo>
                  <a:lnTo>
                    <a:pt x="1301" y="1974"/>
                  </a:lnTo>
                  <a:lnTo>
                    <a:pt x="1302" y="1973"/>
                  </a:lnTo>
                  <a:lnTo>
                    <a:pt x="1302" y="1972"/>
                  </a:lnTo>
                  <a:lnTo>
                    <a:pt x="1302" y="1971"/>
                  </a:lnTo>
                  <a:lnTo>
                    <a:pt x="1302" y="1969"/>
                  </a:lnTo>
                  <a:lnTo>
                    <a:pt x="1301" y="1967"/>
                  </a:lnTo>
                  <a:lnTo>
                    <a:pt x="1301" y="1965"/>
                  </a:lnTo>
                  <a:lnTo>
                    <a:pt x="1301" y="1964"/>
                  </a:lnTo>
                  <a:lnTo>
                    <a:pt x="1295" y="1966"/>
                  </a:lnTo>
                  <a:lnTo>
                    <a:pt x="1293" y="1966"/>
                  </a:lnTo>
                  <a:lnTo>
                    <a:pt x="1289" y="1965"/>
                  </a:lnTo>
                  <a:lnTo>
                    <a:pt x="1285" y="1964"/>
                  </a:lnTo>
                  <a:lnTo>
                    <a:pt x="1285" y="1955"/>
                  </a:lnTo>
                  <a:lnTo>
                    <a:pt x="1284" y="1954"/>
                  </a:lnTo>
                  <a:lnTo>
                    <a:pt x="1283" y="1953"/>
                  </a:lnTo>
                  <a:lnTo>
                    <a:pt x="1280" y="1953"/>
                  </a:lnTo>
                  <a:lnTo>
                    <a:pt x="1282" y="1946"/>
                  </a:lnTo>
                  <a:lnTo>
                    <a:pt x="1283" y="1939"/>
                  </a:lnTo>
                  <a:lnTo>
                    <a:pt x="1285" y="1940"/>
                  </a:lnTo>
                  <a:lnTo>
                    <a:pt x="1287" y="1940"/>
                  </a:lnTo>
                  <a:lnTo>
                    <a:pt x="1289" y="1940"/>
                  </a:lnTo>
                  <a:lnTo>
                    <a:pt x="1290" y="1941"/>
                  </a:lnTo>
                  <a:lnTo>
                    <a:pt x="1291" y="1941"/>
                  </a:lnTo>
                  <a:lnTo>
                    <a:pt x="1292" y="1942"/>
                  </a:lnTo>
                  <a:lnTo>
                    <a:pt x="1292" y="1944"/>
                  </a:lnTo>
                  <a:lnTo>
                    <a:pt x="1293" y="1945"/>
                  </a:lnTo>
                  <a:lnTo>
                    <a:pt x="1293" y="1947"/>
                  </a:lnTo>
                  <a:lnTo>
                    <a:pt x="1299" y="1947"/>
                  </a:lnTo>
                  <a:lnTo>
                    <a:pt x="1303" y="1947"/>
                  </a:lnTo>
                  <a:lnTo>
                    <a:pt x="1305" y="1947"/>
                  </a:lnTo>
                  <a:lnTo>
                    <a:pt x="1306" y="1946"/>
                  </a:lnTo>
                  <a:lnTo>
                    <a:pt x="1310" y="1943"/>
                  </a:lnTo>
                  <a:lnTo>
                    <a:pt x="1313" y="1941"/>
                  </a:lnTo>
                  <a:lnTo>
                    <a:pt x="1316" y="1939"/>
                  </a:lnTo>
                  <a:lnTo>
                    <a:pt x="1318" y="1914"/>
                  </a:lnTo>
                  <a:lnTo>
                    <a:pt x="1315" y="1912"/>
                  </a:lnTo>
                  <a:lnTo>
                    <a:pt x="1312" y="1911"/>
                  </a:lnTo>
                  <a:lnTo>
                    <a:pt x="1312" y="1908"/>
                  </a:lnTo>
                  <a:lnTo>
                    <a:pt x="1313" y="1906"/>
                  </a:lnTo>
                  <a:lnTo>
                    <a:pt x="1314" y="1904"/>
                  </a:lnTo>
                  <a:lnTo>
                    <a:pt x="1314" y="1903"/>
                  </a:lnTo>
                  <a:lnTo>
                    <a:pt x="1315" y="1904"/>
                  </a:lnTo>
                  <a:lnTo>
                    <a:pt x="1317" y="1906"/>
                  </a:lnTo>
                  <a:lnTo>
                    <a:pt x="1318" y="1908"/>
                  </a:lnTo>
                  <a:lnTo>
                    <a:pt x="1320" y="1909"/>
                  </a:lnTo>
                  <a:lnTo>
                    <a:pt x="1321" y="1908"/>
                  </a:lnTo>
                  <a:lnTo>
                    <a:pt x="1323" y="1907"/>
                  </a:lnTo>
                  <a:lnTo>
                    <a:pt x="1326" y="1905"/>
                  </a:lnTo>
                  <a:lnTo>
                    <a:pt x="1337" y="1903"/>
                  </a:lnTo>
                  <a:lnTo>
                    <a:pt x="1347" y="1901"/>
                  </a:lnTo>
                  <a:lnTo>
                    <a:pt x="1352" y="1901"/>
                  </a:lnTo>
                  <a:lnTo>
                    <a:pt x="1357" y="1899"/>
                  </a:lnTo>
                  <a:lnTo>
                    <a:pt x="1361" y="1898"/>
                  </a:lnTo>
                  <a:lnTo>
                    <a:pt x="1366" y="1895"/>
                  </a:lnTo>
                  <a:lnTo>
                    <a:pt x="1370" y="1892"/>
                  </a:lnTo>
                  <a:lnTo>
                    <a:pt x="1373" y="1889"/>
                  </a:lnTo>
                  <a:lnTo>
                    <a:pt x="1376" y="1885"/>
                  </a:lnTo>
                  <a:lnTo>
                    <a:pt x="1378" y="1881"/>
                  </a:lnTo>
                  <a:lnTo>
                    <a:pt x="1379" y="1877"/>
                  </a:lnTo>
                  <a:lnTo>
                    <a:pt x="1380" y="1872"/>
                  </a:lnTo>
                  <a:lnTo>
                    <a:pt x="1383" y="1861"/>
                  </a:lnTo>
                  <a:lnTo>
                    <a:pt x="1380" y="1860"/>
                  </a:lnTo>
                  <a:lnTo>
                    <a:pt x="1377" y="1859"/>
                  </a:lnTo>
                  <a:lnTo>
                    <a:pt x="1375" y="1859"/>
                  </a:lnTo>
                  <a:lnTo>
                    <a:pt x="1374" y="1858"/>
                  </a:lnTo>
                  <a:lnTo>
                    <a:pt x="1374" y="1857"/>
                  </a:lnTo>
                  <a:lnTo>
                    <a:pt x="1373" y="1855"/>
                  </a:lnTo>
                  <a:lnTo>
                    <a:pt x="1373" y="1853"/>
                  </a:lnTo>
                  <a:lnTo>
                    <a:pt x="1374" y="1851"/>
                  </a:lnTo>
                  <a:lnTo>
                    <a:pt x="1375" y="1848"/>
                  </a:lnTo>
                  <a:lnTo>
                    <a:pt x="1376" y="1847"/>
                  </a:lnTo>
                  <a:lnTo>
                    <a:pt x="1376" y="1845"/>
                  </a:lnTo>
                  <a:lnTo>
                    <a:pt x="1374" y="1842"/>
                  </a:lnTo>
                  <a:lnTo>
                    <a:pt x="1370" y="1839"/>
                  </a:lnTo>
                  <a:lnTo>
                    <a:pt x="1367" y="1835"/>
                  </a:lnTo>
                  <a:lnTo>
                    <a:pt x="1364" y="1832"/>
                  </a:lnTo>
                  <a:lnTo>
                    <a:pt x="1361" y="1825"/>
                  </a:lnTo>
                  <a:lnTo>
                    <a:pt x="1359" y="1820"/>
                  </a:lnTo>
                  <a:lnTo>
                    <a:pt x="1358" y="1818"/>
                  </a:lnTo>
                  <a:lnTo>
                    <a:pt x="1359" y="1818"/>
                  </a:lnTo>
                  <a:lnTo>
                    <a:pt x="1360" y="1818"/>
                  </a:lnTo>
                  <a:lnTo>
                    <a:pt x="1360" y="1815"/>
                  </a:lnTo>
                  <a:lnTo>
                    <a:pt x="1360" y="1811"/>
                  </a:lnTo>
                  <a:lnTo>
                    <a:pt x="1360" y="1809"/>
                  </a:lnTo>
                  <a:lnTo>
                    <a:pt x="1362" y="1805"/>
                  </a:lnTo>
                  <a:lnTo>
                    <a:pt x="1361" y="1804"/>
                  </a:lnTo>
                  <a:lnTo>
                    <a:pt x="1362" y="1802"/>
                  </a:lnTo>
                  <a:lnTo>
                    <a:pt x="1364" y="1799"/>
                  </a:lnTo>
                  <a:lnTo>
                    <a:pt x="1366" y="1804"/>
                  </a:lnTo>
                  <a:lnTo>
                    <a:pt x="1366" y="1805"/>
                  </a:lnTo>
                  <a:lnTo>
                    <a:pt x="1366" y="1807"/>
                  </a:lnTo>
                  <a:lnTo>
                    <a:pt x="1365" y="1807"/>
                  </a:lnTo>
                  <a:lnTo>
                    <a:pt x="1364" y="1807"/>
                  </a:lnTo>
                  <a:lnTo>
                    <a:pt x="1365" y="1817"/>
                  </a:lnTo>
                  <a:lnTo>
                    <a:pt x="1366" y="1826"/>
                  </a:lnTo>
                  <a:lnTo>
                    <a:pt x="1368" y="1827"/>
                  </a:lnTo>
                  <a:lnTo>
                    <a:pt x="1371" y="1827"/>
                  </a:lnTo>
                  <a:lnTo>
                    <a:pt x="1373" y="1827"/>
                  </a:lnTo>
                  <a:lnTo>
                    <a:pt x="1376" y="1828"/>
                  </a:lnTo>
                  <a:lnTo>
                    <a:pt x="1377" y="1829"/>
                  </a:lnTo>
                  <a:lnTo>
                    <a:pt x="1377" y="1831"/>
                  </a:lnTo>
                  <a:lnTo>
                    <a:pt x="1378" y="1833"/>
                  </a:lnTo>
                  <a:lnTo>
                    <a:pt x="1379" y="1834"/>
                  </a:lnTo>
                  <a:lnTo>
                    <a:pt x="1382" y="1835"/>
                  </a:lnTo>
                  <a:lnTo>
                    <a:pt x="1385" y="1836"/>
                  </a:lnTo>
                  <a:lnTo>
                    <a:pt x="1387" y="1836"/>
                  </a:lnTo>
                  <a:lnTo>
                    <a:pt x="1389" y="1836"/>
                  </a:lnTo>
                  <a:lnTo>
                    <a:pt x="1393" y="1835"/>
                  </a:lnTo>
                  <a:lnTo>
                    <a:pt x="1399" y="1834"/>
                  </a:lnTo>
                  <a:lnTo>
                    <a:pt x="1403" y="1835"/>
                  </a:lnTo>
                  <a:lnTo>
                    <a:pt x="1407" y="1836"/>
                  </a:lnTo>
                  <a:lnTo>
                    <a:pt x="1410" y="1836"/>
                  </a:lnTo>
                  <a:lnTo>
                    <a:pt x="1414" y="1833"/>
                  </a:lnTo>
                  <a:lnTo>
                    <a:pt x="1418" y="1828"/>
                  </a:lnTo>
                  <a:lnTo>
                    <a:pt x="1429" y="181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2444" y="1242"/>
              <a:ext cx="131" cy="66"/>
            </a:xfrm>
            <a:custGeom>
              <a:avLst/>
              <a:gdLst>
                <a:gd name="T0" fmla="*/ 94 w 131"/>
                <a:gd name="T1" fmla="*/ 8 h 66"/>
                <a:gd name="T2" fmla="*/ 86 w 131"/>
                <a:gd name="T3" fmla="*/ 6 h 66"/>
                <a:gd name="T4" fmla="*/ 78 w 131"/>
                <a:gd name="T5" fmla="*/ 11 h 66"/>
                <a:gd name="T6" fmla="*/ 74 w 131"/>
                <a:gd name="T7" fmla="*/ 8 h 66"/>
                <a:gd name="T8" fmla="*/ 75 w 131"/>
                <a:gd name="T9" fmla="*/ 16 h 66"/>
                <a:gd name="T10" fmla="*/ 69 w 131"/>
                <a:gd name="T11" fmla="*/ 14 h 66"/>
                <a:gd name="T12" fmla="*/ 65 w 131"/>
                <a:gd name="T13" fmla="*/ 7 h 66"/>
                <a:gd name="T14" fmla="*/ 63 w 131"/>
                <a:gd name="T15" fmla="*/ 8 h 66"/>
                <a:gd name="T16" fmla="*/ 60 w 131"/>
                <a:gd name="T17" fmla="*/ 10 h 66"/>
                <a:gd name="T18" fmla="*/ 58 w 131"/>
                <a:gd name="T19" fmla="*/ 16 h 66"/>
                <a:gd name="T20" fmla="*/ 52 w 131"/>
                <a:gd name="T21" fmla="*/ 8 h 66"/>
                <a:gd name="T22" fmla="*/ 49 w 131"/>
                <a:gd name="T23" fmla="*/ 19 h 66"/>
                <a:gd name="T24" fmla="*/ 40 w 131"/>
                <a:gd name="T25" fmla="*/ 21 h 66"/>
                <a:gd name="T26" fmla="*/ 40 w 131"/>
                <a:gd name="T27" fmla="*/ 25 h 66"/>
                <a:gd name="T28" fmla="*/ 35 w 131"/>
                <a:gd name="T29" fmla="*/ 20 h 66"/>
                <a:gd name="T30" fmla="*/ 36 w 131"/>
                <a:gd name="T31" fmla="*/ 12 h 66"/>
                <a:gd name="T32" fmla="*/ 27 w 131"/>
                <a:gd name="T33" fmla="*/ 6 h 66"/>
                <a:gd name="T34" fmla="*/ 26 w 131"/>
                <a:gd name="T35" fmla="*/ 11 h 66"/>
                <a:gd name="T36" fmla="*/ 27 w 131"/>
                <a:gd name="T37" fmla="*/ 15 h 66"/>
                <a:gd name="T38" fmla="*/ 15 w 131"/>
                <a:gd name="T39" fmla="*/ 13 h 66"/>
                <a:gd name="T40" fmla="*/ 12 w 131"/>
                <a:gd name="T41" fmla="*/ 13 h 66"/>
                <a:gd name="T42" fmla="*/ 13 w 131"/>
                <a:gd name="T43" fmla="*/ 18 h 66"/>
                <a:gd name="T44" fmla="*/ 8 w 131"/>
                <a:gd name="T45" fmla="*/ 20 h 66"/>
                <a:gd name="T46" fmla="*/ 4 w 131"/>
                <a:gd name="T47" fmla="*/ 23 h 66"/>
                <a:gd name="T48" fmla="*/ 7 w 131"/>
                <a:gd name="T49" fmla="*/ 27 h 66"/>
                <a:gd name="T50" fmla="*/ 19 w 131"/>
                <a:gd name="T51" fmla="*/ 21 h 66"/>
                <a:gd name="T52" fmla="*/ 25 w 131"/>
                <a:gd name="T53" fmla="*/ 20 h 66"/>
                <a:gd name="T54" fmla="*/ 23 w 131"/>
                <a:gd name="T55" fmla="*/ 23 h 66"/>
                <a:gd name="T56" fmla="*/ 22 w 131"/>
                <a:gd name="T57" fmla="*/ 28 h 66"/>
                <a:gd name="T58" fmla="*/ 27 w 131"/>
                <a:gd name="T59" fmla="*/ 31 h 66"/>
                <a:gd name="T60" fmla="*/ 15 w 131"/>
                <a:gd name="T61" fmla="*/ 31 h 66"/>
                <a:gd name="T62" fmla="*/ 8 w 131"/>
                <a:gd name="T63" fmla="*/ 36 h 66"/>
                <a:gd name="T64" fmla="*/ 13 w 131"/>
                <a:gd name="T65" fmla="*/ 39 h 66"/>
                <a:gd name="T66" fmla="*/ 23 w 131"/>
                <a:gd name="T67" fmla="*/ 39 h 66"/>
                <a:gd name="T68" fmla="*/ 33 w 131"/>
                <a:gd name="T69" fmla="*/ 48 h 66"/>
                <a:gd name="T70" fmla="*/ 23 w 131"/>
                <a:gd name="T71" fmla="*/ 58 h 66"/>
                <a:gd name="T72" fmla="*/ 31 w 131"/>
                <a:gd name="T73" fmla="*/ 56 h 66"/>
                <a:gd name="T74" fmla="*/ 38 w 131"/>
                <a:gd name="T75" fmla="*/ 54 h 66"/>
                <a:gd name="T76" fmla="*/ 52 w 131"/>
                <a:gd name="T77" fmla="*/ 61 h 66"/>
                <a:gd name="T78" fmla="*/ 50 w 131"/>
                <a:gd name="T79" fmla="*/ 62 h 66"/>
                <a:gd name="T80" fmla="*/ 75 w 131"/>
                <a:gd name="T81" fmla="*/ 66 h 66"/>
                <a:gd name="T82" fmla="*/ 78 w 131"/>
                <a:gd name="T83" fmla="*/ 59 h 66"/>
                <a:gd name="T84" fmla="*/ 78 w 131"/>
                <a:gd name="T85" fmla="*/ 55 h 66"/>
                <a:gd name="T86" fmla="*/ 86 w 131"/>
                <a:gd name="T87" fmla="*/ 58 h 66"/>
                <a:gd name="T88" fmla="*/ 90 w 131"/>
                <a:gd name="T89" fmla="*/ 55 h 66"/>
                <a:gd name="T90" fmla="*/ 94 w 131"/>
                <a:gd name="T91" fmla="*/ 56 h 66"/>
                <a:gd name="T92" fmla="*/ 98 w 131"/>
                <a:gd name="T93" fmla="*/ 54 h 66"/>
                <a:gd name="T94" fmla="*/ 106 w 131"/>
                <a:gd name="T95" fmla="*/ 48 h 66"/>
                <a:gd name="T96" fmla="*/ 110 w 131"/>
                <a:gd name="T97" fmla="*/ 49 h 66"/>
                <a:gd name="T98" fmla="*/ 119 w 131"/>
                <a:gd name="T99" fmla="*/ 41 h 66"/>
                <a:gd name="T100" fmla="*/ 123 w 131"/>
                <a:gd name="T101" fmla="*/ 34 h 66"/>
                <a:gd name="T102" fmla="*/ 127 w 131"/>
                <a:gd name="T103" fmla="*/ 37 h 66"/>
                <a:gd name="T104" fmla="*/ 129 w 131"/>
                <a:gd name="T105" fmla="*/ 21 h 66"/>
                <a:gd name="T106" fmla="*/ 121 w 131"/>
                <a:gd name="T107" fmla="*/ 18 h 66"/>
                <a:gd name="T108" fmla="*/ 117 w 131"/>
                <a:gd name="T109" fmla="*/ 21 h 66"/>
                <a:gd name="T110" fmla="*/ 114 w 131"/>
                <a:gd name="T111" fmla="*/ 20 h 66"/>
                <a:gd name="T112" fmla="*/ 118 w 131"/>
                <a:gd name="T113" fmla="*/ 15 h 66"/>
                <a:gd name="T114" fmla="*/ 113 w 131"/>
                <a:gd name="T115" fmla="*/ 10 h 66"/>
                <a:gd name="T116" fmla="*/ 119 w 131"/>
                <a:gd name="T117" fmla="*/ 4 h 66"/>
                <a:gd name="T118" fmla="*/ 111 w 131"/>
                <a:gd name="T119" fmla="*/ 6 h 66"/>
                <a:gd name="T120" fmla="*/ 109 w 131"/>
                <a:gd name="T121" fmla="*/ 8 h 66"/>
                <a:gd name="T122" fmla="*/ 105 w 131"/>
                <a:gd name="T123" fmla="*/ 2 h 66"/>
                <a:gd name="T124" fmla="*/ 101 w 131"/>
                <a:gd name="T125" fmla="*/ 0 h 6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31"/>
                <a:gd name="T190" fmla="*/ 0 h 66"/>
                <a:gd name="T191" fmla="*/ 131 w 131"/>
                <a:gd name="T192" fmla="*/ 66 h 6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31" h="66">
                  <a:moveTo>
                    <a:pt x="98" y="0"/>
                  </a:moveTo>
                  <a:lnTo>
                    <a:pt x="98" y="8"/>
                  </a:lnTo>
                  <a:lnTo>
                    <a:pt x="94" y="8"/>
                  </a:lnTo>
                  <a:lnTo>
                    <a:pt x="92" y="7"/>
                  </a:lnTo>
                  <a:lnTo>
                    <a:pt x="89" y="6"/>
                  </a:lnTo>
                  <a:lnTo>
                    <a:pt x="86" y="6"/>
                  </a:lnTo>
                  <a:lnTo>
                    <a:pt x="86" y="10"/>
                  </a:lnTo>
                  <a:lnTo>
                    <a:pt x="79" y="12"/>
                  </a:lnTo>
                  <a:lnTo>
                    <a:pt x="78" y="11"/>
                  </a:lnTo>
                  <a:lnTo>
                    <a:pt x="77" y="10"/>
                  </a:lnTo>
                  <a:lnTo>
                    <a:pt x="75" y="9"/>
                  </a:lnTo>
                  <a:lnTo>
                    <a:pt x="74" y="8"/>
                  </a:lnTo>
                  <a:lnTo>
                    <a:pt x="73" y="8"/>
                  </a:lnTo>
                  <a:lnTo>
                    <a:pt x="74" y="12"/>
                  </a:lnTo>
                  <a:lnTo>
                    <a:pt x="75" y="16"/>
                  </a:lnTo>
                  <a:lnTo>
                    <a:pt x="72" y="15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7" y="4"/>
                  </a:lnTo>
                  <a:lnTo>
                    <a:pt x="66" y="6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1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58" y="11"/>
                  </a:lnTo>
                  <a:lnTo>
                    <a:pt x="58" y="12"/>
                  </a:lnTo>
                  <a:lnTo>
                    <a:pt x="58" y="16"/>
                  </a:lnTo>
                  <a:lnTo>
                    <a:pt x="54" y="16"/>
                  </a:lnTo>
                  <a:lnTo>
                    <a:pt x="53" y="12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9" y="15"/>
                  </a:lnTo>
                  <a:lnTo>
                    <a:pt x="49" y="19"/>
                  </a:lnTo>
                  <a:lnTo>
                    <a:pt x="48" y="20"/>
                  </a:lnTo>
                  <a:lnTo>
                    <a:pt x="48" y="21"/>
                  </a:lnTo>
                  <a:lnTo>
                    <a:pt x="40" y="21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0" y="25"/>
                  </a:lnTo>
                  <a:lnTo>
                    <a:pt x="36" y="27"/>
                  </a:lnTo>
                  <a:lnTo>
                    <a:pt x="35" y="22"/>
                  </a:lnTo>
                  <a:lnTo>
                    <a:pt x="35" y="20"/>
                  </a:lnTo>
                  <a:lnTo>
                    <a:pt x="36" y="19"/>
                  </a:lnTo>
                  <a:lnTo>
                    <a:pt x="36" y="15"/>
                  </a:lnTo>
                  <a:lnTo>
                    <a:pt x="36" y="12"/>
                  </a:lnTo>
                  <a:lnTo>
                    <a:pt x="33" y="12"/>
                  </a:lnTo>
                  <a:lnTo>
                    <a:pt x="29" y="6"/>
                  </a:lnTo>
                  <a:lnTo>
                    <a:pt x="27" y="6"/>
                  </a:lnTo>
                  <a:lnTo>
                    <a:pt x="21" y="6"/>
                  </a:lnTo>
                  <a:lnTo>
                    <a:pt x="23" y="8"/>
                  </a:lnTo>
                  <a:lnTo>
                    <a:pt x="26" y="11"/>
                  </a:lnTo>
                  <a:lnTo>
                    <a:pt x="27" y="13"/>
                  </a:lnTo>
                  <a:lnTo>
                    <a:pt x="27" y="14"/>
                  </a:lnTo>
                  <a:lnTo>
                    <a:pt x="27" y="15"/>
                  </a:lnTo>
                  <a:lnTo>
                    <a:pt x="25" y="16"/>
                  </a:lnTo>
                  <a:lnTo>
                    <a:pt x="19" y="12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3" y="18"/>
                  </a:lnTo>
                  <a:lnTo>
                    <a:pt x="12" y="19"/>
                  </a:lnTo>
                  <a:lnTo>
                    <a:pt x="10" y="20"/>
                  </a:lnTo>
                  <a:lnTo>
                    <a:pt x="8" y="20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4" y="23"/>
                  </a:lnTo>
                  <a:lnTo>
                    <a:pt x="0" y="25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10" y="27"/>
                  </a:lnTo>
                  <a:lnTo>
                    <a:pt x="15" y="23"/>
                  </a:lnTo>
                  <a:lnTo>
                    <a:pt x="19" y="21"/>
                  </a:lnTo>
                  <a:lnTo>
                    <a:pt x="21" y="19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6" y="20"/>
                  </a:lnTo>
                  <a:lnTo>
                    <a:pt x="25" y="22"/>
                  </a:lnTo>
                  <a:lnTo>
                    <a:pt x="23" y="23"/>
                  </a:lnTo>
                  <a:lnTo>
                    <a:pt x="22" y="25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3" y="29"/>
                  </a:lnTo>
                  <a:lnTo>
                    <a:pt x="25" y="30"/>
                  </a:lnTo>
                  <a:lnTo>
                    <a:pt x="27" y="31"/>
                  </a:lnTo>
                  <a:lnTo>
                    <a:pt x="24" y="31"/>
                  </a:lnTo>
                  <a:lnTo>
                    <a:pt x="21" y="31"/>
                  </a:lnTo>
                  <a:lnTo>
                    <a:pt x="15" y="31"/>
                  </a:lnTo>
                  <a:lnTo>
                    <a:pt x="14" y="33"/>
                  </a:lnTo>
                  <a:lnTo>
                    <a:pt x="13" y="35"/>
                  </a:lnTo>
                  <a:lnTo>
                    <a:pt x="8" y="36"/>
                  </a:lnTo>
                  <a:lnTo>
                    <a:pt x="4" y="37"/>
                  </a:lnTo>
                  <a:lnTo>
                    <a:pt x="6" y="41"/>
                  </a:lnTo>
                  <a:lnTo>
                    <a:pt x="13" y="39"/>
                  </a:lnTo>
                  <a:lnTo>
                    <a:pt x="18" y="38"/>
                  </a:lnTo>
                  <a:lnTo>
                    <a:pt x="21" y="38"/>
                  </a:lnTo>
                  <a:lnTo>
                    <a:pt x="23" y="39"/>
                  </a:lnTo>
                  <a:lnTo>
                    <a:pt x="25" y="40"/>
                  </a:lnTo>
                  <a:lnTo>
                    <a:pt x="28" y="43"/>
                  </a:lnTo>
                  <a:lnTo>
                    <a:pt x="33" y="48"/>
                  </a:lnTo>
                  <a:lnTo>
                    <a:pt x="26" y="50"/>
                  </a:lnTo>
                  <a:lnTo>
                    <a:pt x="19" y="52"/>
                  </a:lnTo>
                  <a:lnTo>
                    <a:pt x="23" y="58"/>
                  </a:lnTo>
                  <a:lnTo>
                    <a:pt x="27" y="56"/>
                  </a:lnTo>
                  <a:lnTo>
                    <a:pt x="29" y="56"/>
                  </a:lnTo>
                  <a:lnTo>
                    <a:pt x="31" y="56"/>
                  </a:lnTo>
                  <a:lnTo>
                    <a:pt x="33" y="55"/>
                  </a:lnTo>
                  <a:lnTo>
                    <a:pt x="35" y="54"/>
                  </a:lnTo>
                  <a:lnTo>
                    <a:pt x="38" y="54"/>
                  </a:lnTo>
                  <a:lnTo>
                    <a:pt x="52" y="58"/>
                  </a:lnTo>
                  <a:lnTo>
                    <a:pt x="52" y="59"/>
                  </a:lnTo>
                  <a:lnTo>
                    <a:pt x="52" y="61"/>
                  </a:lnTo>
                  <a:lnTo>
                    <a:pt x="52" y="62"/>
                  </a:lnTo>
                  <a:lnTo>
                    <a:pt x="51" y="62"/>
                  </a:lnTo>
                  <a:lnTo>
                    <a:pt x="50" y="62"/>
                  </a:lnTo>
                  <a:lnTo>
                    <a:pt x="49" y="64"/>
                  </a:lnTo>
                  <a:lnTo>
                    <a:pt x="48" y="66"/>
                  </a:lnTo>
                  <a:lnTo>
                    <a:pt x="75" y="66"/>
                  </a:lnTo>
                  <a:lnTo>
                    <a:pt x="78" y="62"/>
                  </a:lnTo>
                  <a:lnTo>
                    <a:pt x="79" y="60"/>
                  </a:lnTo>
                  <a:lnTo>
                    <a:pt x="78" y="59"/>
                  </a:lnTo>
                  <a:lnTo>
                    <a:pt x="77" y="60"/>
                  </a:lnTo>
                  <a:lnTo>
                    <a:pt x="75" y="54"/>
                  </a:lnTo>
                  <a:lnTo>
                    <a:pt x="78" y="55"/>
                  </a:lnTo>
                  <a:lnTo>
                    <a:pt x="81" y="57"/>
                  </a:lnTo>
                  <a:lnTo>
                    <a:pt x="83" y="58"/>
                  </a:lnTo>
                  <a:lnTo>
                    <a:pt x="86" y="58"/>
                  </a:lnTo>
                  <a:lnTo>
                    <a:pt x="88" y="57"/>
                  </a:lnTo>
                  <a:lnTo>
                    <a:pt x="89" y="56"/>
                  </a:lnTo>
                  <a:lnTo>
                    <a:pt x="90" y="55"/>
                  </a:lnTo>
                  <a:lnTo>
                    <a:pt x="92" y="54"/>
                  </a:lnTo>
                  <a:lnTo>
                    <a:pt x="93" y="55"/>
                  </a:lnTo>
                  <a:lnTo>
                    <a:pt x="94" y="56"/>
                  </a:lnTo>
                  <a:lnTo>
                    <a:pt x="95" y="56"/>
                  </a:lnTo>
                  <a:lnTo>
                    <a:pt x="96" y="56"/>
                  </a:lnTo>
                  <a:lnTo>
                    <a:pt x="98" y="54"/>
                  </a:lnTo>
                  <a:lnTo>
                    <a:pt x="101" y="52"/>
                  </a:lnTo>
                  <a:lnTo>
                    <a:pt x="103" y="50"/>
                  </a:lnTo>
                  <a:lnTo>
                    <a:pt x="106" y="48"/>
                  </a:lnTo>
                  <a:lnTo>
                    <a:pt x="107" y="48"/>
                  </a:lnTo>
                  <a:lnTo>
                    <a:pt x="108" y="48"/>
                  </a:lnTo>
                  <a:lnTo>
                    <a:pt x="110" y="49"/>
                  </a:lnTo>
                  <a:lnTo>
                    <a:pt x="111" y="48"/>
                  </a:lnTo>
                  <a:lnTo>
                    <a:pt x="115" y="45"/>
                  </a:lnTo>
                  <a:lnTo>
                    <a:pt x="119" y="41"/>
                  </a:lnTo>
                  <a:lnTo>
                    <a:pt x="125" y="33"/>
                  </a:lnTo>
                  <a:lnTo>
                    <a:pt x="124" y="34"/>
                  </a:lnTo>
                  <a:lnTo>
                    <a:pt x="123" y="34"/>
                  </a:lnTo>
                  <a:lnTo>
                    <a:pt x="124" y="35"/>
                  </a:lnTo>
                  <a:lnTo>
                    <a:pt x="127" y="35"/>
                  </a:lnTo>
                  <a:lnTo>
                    <a:pt x="127" y="37"/>
                  </a:lnTo>
                  <a:lnTo>
                    <a:pt x="128" y="37"/>
                  </a:lnTo>
                  <a:lnTo>
                    <a:pt x="131" y="35"/>
                  </a:lnTo>
                  <a:lnTo>
                    <a:pt x="129" y="21"/>
                  </a:lnTo>
                  <a:lnTo>
                    <a:pt x="126" y="20"/>
                  </a:lnTo>
                  <a:lnTo>
                    <a:pt x="124" y="19"/>
                  </a:lnTo>
                  <a:lnTo>
                    <a:pt x="121" y="18"/>
                  </a:lnTo>
                  <a:lnTo>
                    <a:pt x="119" y="18"/>
                  </a:lnTo>
                  <a:lnTo>
                    <a:pt x="118" y="20"/>
                  </a:lnTo>
                  <a:lnTo>
                    <a:pt x="117" y="21"/>
                  </a:lnTo>
                  <a:lnTo>
                    <a:pt x="116" y="22"/>
                  </a:lnTo>
                  <a:lnTo>
                    <a:pt x="115" y="21"/>
                  </a:lnTo>
                  <a:lnTo>
                    <a:pt x="114" y="20"/>
                  </a:lnTo>
                  <a:lnTo>
                    <a:pt x="115" y="18"/>
                  </a:lnTo>
                  <a:lnTo>
                    <a:pt x="117" y="16"/>
                  </a:lnTo>
                  <a:lnTo>
                    <a:pt x="118" y="15"/>
                  </a:lnTo>
                  <a:lnTo>
                    <a:pt x="118" y="14"/>
                  </a:lnTo>
                  <a:lnTo>
                    <a:pt x="116" y="12"/>
                  </a:lnTo>
                  <a:lnTo>
                    <a:pt x="113" y="10"/>
                  </a:lnTo>
                  <a:lnTo>
                    <a:pt x="116" y="7"/>
                  </a:lnTo>
                  <a:lnTo>
                    <a:pt x="118" y="5"/>
                  </a:lnTo>
                  <a:lnTo>
                    <a:pt x="119" y="4"/>
                  </a:lnTo>
                  <a:lnTo>
                    <a:pt x="120" y="3"/>
                  </a:lnTo>
                  <a:lnTo>
                    <a:pt x="118" y="3"/>
                  </a:lnTo>
                  <a:lnTo>
                    <a:pt x="111" y="6"/>
                  </a:lnTo>
                  <a:lnTo>
                    <a:pt x="112" y="7"/>
                  </a:lnTo>
                  <a:lnTo>
                    <a:pt x="112" y="8"/>
                  </a:lnTo>
                  <a:lnTo>
                    <a:pt x="109" y="8"/>
                  </a:lnTo>
                  <a:lnTo>
                    <a:pt x="108" y="7"/>
                  </a:lnTo>
                  <a:lnTo>
                    <a:pt x="107" y="5"/>
                  </a:lnTo>
                  <a:lnTo>
                    <a:pt x="105" y="2"/>
                  </a:lnTo>
                  <a:lnTo>
                    <a:pt x="104" y="1"/>
                  </a:lnTo>
                  <a:lnTo>
                    <a:pt x="103" y="0"/>
                  </a:lnTo>
                  <a:lnTo>
                    <a:pt x="101" y="0"/>
                  </a:lnTo>
                  <a:lnTo>
                    <a:pt x="9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2669" y="1407"/>
              <a:ext cx="99" cy="177"/>
            </a:xfrm>
            <a:custGeom>
              <a:avLst/>
              <a:gdLst>
                <a:gd name="T0" fmla="*/ 15 w 99"/>
                <a:gd name="T1" fmla="*/ 2 h 177"/>
                <a:gd name="T2" fmla="*/ 15 w 99"/>
                <a:gd name="T3" fmla="*/ 10 h 177"/>
                <a:gd name="T4" fmla="*/ 10 w 99"/>
                <a:gd name="T5" fmla="*/ 16 h 177"/>
                <a:gd name="T6" fmla="*/ 11 w 99"/>
                <a:gd name="T7" fmla="*/ 22 h 177"/>
                <a:gd name="T8" fmla="*/ 3 w 99"/>
                <a:gd name="T9" fmla="*/ 27 h 177"/>
                <a:gd name="T10" fmla="*/ 9 w 99"/>
                <a:gd name="T11" fmla="*/ 33 h 177"/>
                <a:gd name="T12" fmla="*/ 7 w 99"/>
                <a:gd name="T13" fmla="*/ 35 h 177"/>
                <a:gd name="T14" fmla="*/ 4 w 99"/>
                <a:gd name="T15" fmla="*/ 38 h 177"/>
                <a:gd name="T16" fmla="*/ 6 w 99"/>
                <a:gd name="T17" fmla="*/ 42 h 177"/>
                <a:gd name="T18" fmla="*/ 7 w 99"/>
                <a:gd name="T19" fmla="*/ 50 h 177"/>
                <a:gd name="T20" fmla="*/ 9 w 99"/>
                <a:gd name="T21" fmla="*/ 52 h 177"/>
                <a:gd name="T22" fmla="*/ 6 w 99"/>
                <a:gd name="T23" fmla="*/ 60 h 177"/>
                <a:gd name="T24" fmla="*/ 9 w 99"/>
                <a:gd name="T25" fmla="*/ 58 h 177"/>
                <a:gd name="T26" fmla="*/ 15 w 99"/>
                <a:gd name="T27" fmla="*/ 62 h 177"/>
                <a:gd name="T28" fmla="*/ 22 w 99"/>
                <a:gd name="T29" fmla="*/ 82 h 177"/>
                <a:gd name="T30" fmla="*/ 42 w 99"/>
                <a:gd name="T31" fmla="*/ 93 h 177"/>
                <a:gd name="T32" fmla="*/ 35 w 99"/>
                <a:gd name="T33" fmla="*/ 108 h 177"/>
                <a:gd name="T34" fmla="*/ 19 w 99"/>
                <a:gd name="T35" fmla="*/ 106 h 177"/>
                <a:gd name="T36" fmla="*/ 21 w 99"/>
                <a:gd name="T37" fmla="*/ 111 h 177"/>
                <a:gd name="T38" fmla="*/ 15 w 99"/>
                <a:gd name="T39" fmla="*/ 123 h 177"/>
                <a:gd name="T40" fmla="*/ 23 w 99"/>
                <a:gd name="T41" fmla="*/ 129 h 177"/>
                <a:gd name="T42" fmla="*/ 11 w 99"/>
                <a:gd name="T43" fmla="*/ 142 h 177"/>
                <a:gd name="T44" fmla="*/ 15 w 99"/>
                <a:gd name="T45" fmla="*/ 144 h 177"/>
                <a:gd name="T46" fmla="*/ 28 w 99"/>
                <a:gd name="T47" fmla="*/ 145 h 177"/>
                <a:gd name="T48" fmla="*/ 42 w 99"/>
                <a:gd name="T49" fmla="*/ 144 h 177"/>
                <a:gd name="T50" fmla="*/ 15 w 99"/>
                <a:gd name="T51" fmla="*/ 157 h 177"/>
                <a:gd name="T52" fmla="*/ 6 w 99"/>
                <a:gd name="T53" fmla="*/ 170 h 177"/>
                <a:gd name="T54" fmla="*/ 5 w 99"/>
                <a:gd name="T55" fmla="*/ 176 h 177"/>
                <a:gd name="T56" fmla="*/ 11 w 99"/>
                <a:gd name="T57" fmla="*/ 170 h 177"/>
                <a:gd name="T58" fmla="*/ 25 w 99"/>
                <a:gd name="T59" fmla="*/ 167 h 177"/>
                <a:gd name="T60" fmla="*/ 39 w 99"/>
                <a:gd name="T61" fmla="*/ 163 h 177"/>
                <a:gd name="T62" fmla="*/ 50 w 99"/>
                <a:gd name="T63" fmla="*/ 164 h 177"/>
                <a:gd name="T64" fmla="*/ 56 w 99"/>
                <a:gd name="T65" fmla="*/ 158 h 177"/>
                <a:gd name="T66" fmla="*/ 80 w 99"/>
                <a:gd name="T67" fmla="*/ 160 h 177"/>
                <a:gd name="T68" fmla="*/ 92 w 99"/>
                <a:gd name="T69" fmla="*/ 150 h 177"/>
                <a:gd name="T70" fmla="*/ 83 w 99"/>
                <a:gd name="T71" fmla="*/ 149 h 177"/>
                <a:gd name="T72" fmla="*/ 86 w 99"/>
                <a:gd name="T73" fmla="*/ 141 h 177"/>
                <a:gd name="T74" fmla="*/ 95 w 99"/>
                <a:gd name="T75" fmla="*/ 139 h 177"/>
                <a:gd name="T76" fmla="*/ 99 w 99"/>
                <a:gd name="T77" fmla="*/ 128 h 177"/>
                <a:gd name="T78" fmla="*/ 97 w 99"/>
                <a:gd name="T79" fmla="*/ 121 h 177"/>
                <a:gd name="T80" fmla="*/ 91 w 99"/>
                <a:gd name="T81" fmla="*/ 118 h 177"/>
                <a:gd name="T82" fmla="*/ 83 w 99"/>
                <a:gd name="T83" fmla="*/ 123 h 177"/>
                <a:gd name="T84" fmla="*/ 80 w 99"/>
                <a:gd name="T85" fmla="*/ 121 h 177"/>
                <a:gd name="T86" fmla="*/ 77 w 99"/>
                <a:gd name="T87" fmla="*/ 109 h 177"/>
                <a:gd name="T88" fmla="*/ 81 w 99"/>
                <a:gd name="T89" fmla="*/ 105 h 177"/>
                <a:gd name="T90" fmla="*/ 71 w 99"/>
                <a:gd name="T91" fmla="*/ 95 h 177"/>
                <a:gd name="T92" fmla="*/ 60 w 99"/>
                <a:gd name="T93" fmla="*/ 86 h 177"/>
                <a:gd name="T94" fmla="*/ 56 w 99"/>
                <a:gd name="T95" fmla="*/ 75 h 177"/>
                <a:gd name="T96" fmla="*/ 51 w 99"/>
                <a:gd name="T97" fmla="*/ 66 h 177"/>
                <a:gd name="T98" fmla="*/ 46 w 99"/>
                <a:gd name="T99" fmla="*/ 64 h 177"/>
                <a:gd name="T100" fmla="*/ 40 w 99"/>
                <a:gd name="T101" fmla="*/ 60 h 177"/>
                <a:gd name="T102" fmla="*/ 44 w 99"/>
                <a:gd name="T103" fmla="*/ 51 h 177"/>
                <a:gd name="T104" fmla="*/ 45 w 99"/>
                <a:gd name="T105" fmla="*/ 43 h 177"/>
                <a:gd name="T106" fmla="*/ 52 w 99"/>
                <a:gd name="T107" fmla="*/ 31 h 177"/>
                <a:gd name="T108" fmla="*/ 49 w 99"/>
                <a:gd name="T109" fmla="*/ 24 h 177"/>
                <a:gd name="T110" fmla="*/ 35 w 99"/>
                <a:gd name="T111" fmla="*/ 25 h 177"/>
                <a:gd name="T112" fmla="*/ 24 w 99"/>
                <a:gd name="T113" fmla="*/ 25 h 177"/>
                <a:gd name="T114" fmla="*/ 24 w 99"/>
                <a:gd name="T115" fmla="*/ 19 h 177"/>
                <a:gd name="T116" fmla="*/ 27 w 99"/>
                <a:gd name="T117" fmla="*/ 16 h 177"/>
                <a:gd name="T118" fmla="*/ 36 w 99"/>
                <a:gd name="T119" fmla="*/ 10 h 177"/>
                <a:gd name="T120" fmla="*/ 31 w 99"/>
                <a:gd name="T121" fmla="*/ 1 h 1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99"/>
                <a:gd name="T184" fmla="*/ 0 h 177"/>
                <a:gd name="T185" fmla="*/ 99 w 99"/>
                <a:gd name="T186" fmla="*/ 177 h 17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99" h="177">
                  <a:moveTo>
                    <a:pt x="26" y="0"/>
                  </a:moveTo>
                  <a:lnTo>
                    <a:pt x="24" y="3"/>
                  </a:lnTo>
                  <a:lnTo>
                    <a:pt x="21" y="6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5" y="8"/>
                  </a:lnTo>
                  <a:lnTo>
                    <a:pt x="15" y="10"/>
                  </a:lnTo>
                  <a:lnTo>
                    <a:pt x="11" y="12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1" y="17"/>
                  </a:lnTo>
                  <a:lnTo>
                    <a:pt x="12" y="19"/>
                  </a:lnTo>
                  <a:lnTo>
                    <a:pt x="12" y="20"/>
                  </a:lnTo>
                  <a:lnTo>
                    <a:pt x="11" y="22"/>
                  </a:lnTo>
                  <a:lnTo>
                    <a:pt x="5" y="22"/>
                  </a:lnTo>
                  <a:lnTo>
                    <a:pt x="6" y="25"/>
                  </a:lnTo>
                  <a:lnTo>
                    <a:pt x="5" y="27"/>
                  </a:lnTo>
                  <a:lnTo>
                    <a:pt x="3" y="27"/>
                  </a:lnTo>
                  <a:lnTo>
                    <a:pt x="4" y="28"/>
                  </a:lnTo>
                  <a:lnTo>
                    <a:pt x="5" y="30"/>
                  </a:lnTo>
                  <a:lnTo>
                    <a:pt x="5" y="33"/>
                  </a:lnTo>
                  <a:lnTo>
                    <a:pt x="9" y="33"/>
                  </a:lnTo>
                  <a:lnTo>
                    <a:pt x="6" y="33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4" y="36"/>
                  </a:lnTo>
                  <a:lnTo>
                    <a:pt x="3" y="37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5" y="40"/>
                  </a:lnTo>
                  <a:lnTo>
                    <a:pt x="7" y="41"/>
                  </a:lnTo>
                  <a:lnTo>
                    <a:pt x="6" y="42"/>
                  </a:lnTo>
                  <a:lnTo>
                    <a:pt x="3" y="43"/>
                  </a:lnTo>
                  <a:lnTo>
                    <a:pt x="4" y="46"/>
                  </a:lnTo>
                  <a:lnTo>
                    <a:pt x="3" y="50"/>
                  </a:lnTo>
                  <a:lnTo>
                    <a:pt x="7" y="50"/>
                  </a:lnTo>
                  <a:lnTo>
                    <a:pt x="10" y="50"/>
                  </a:lnTo>
                  <a:lnTo>
                    <a:pt x="11" y="50"/>
                  </a:lnTo>
                  <a:lnTo>
                    <a:pt x="11" y="51"/>
                  </a:lnTo>
                  <a:lnTo>
                    <a:pt x="9" y="52"/>
                  </a:lnTo>
                  <a:lnTo>
                    <a:pt x="5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60"/>
                  </a:lnTo>
                  <a:lnTo>
                    <a:pt x="5" y="64"/>
                  </a:lnTo>
                  <a:lnTo>
                    <a:pt x="7" y="63"/>
                  </a:lnTo>
                  <a:lnTo>
                    <a:pt x="8" y="61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13" y="58"/>
                  </a:lnTo>
                  <a:lnTo>
                    <a:pt x="15" y="58"/>
                  </a:lnTo>
                  <a:lnTo>
                    <a:pt x="15" y="62"/>
                  </a:lnTo>
                  <a:lnTo>
                    <a:pt x="14" y="70"/>
                  </a:lnTo>
                  <a:lnTo>
                    <a:pt x="12" y="77"/>
                  </a:lnTo>
                  <a:lnTo>
                    <a:pt x="11" y="83"/>
                  </a:lnTo>
                  <a:lnTo>
                    <a:pt x="22" y="82"/>
                  </a:lnTo>
                  <a:lnTo>
                    <a:pt x="36" y="81"/>
                  </a:lnTo>
                  <a:lnTo>
                    <a:pt x="30" y="91"/>
                  </a:lnTo>
                  <a:lnTo>
                    <a:pt x="35" y="92"/>
                  </a:lnTo>
                  <a:lnTo>
                    <a:pt x="42" y="93"/>
                  </a:lnTo>
                  <a:lnTo>
                    <a:pt x="40" y="102"/>
                  </a:lnTo>
                  <a:lnTo>
                    <a:pt x="38" y="105"/>
                  </a:lnTo>
                  <a:lnTo>
                    <a:pt x="37" y="108"/>
                  </a:lnTo>
                  <a:lnTo>
                    <a:pt x="35" y="108"/>
                  </a:lnTo>
                  <a:lnTo>
                    <a:pt x="34" y="109"/>
                  </a:lnTo>
                  <a:lnTo>
                    <a:pt x="30" y="109"/>
                  </a:lnTo>
                  <a:lnTo>
                    <a:pt x="25" y="108"/>
                  </a:lnTo>
                  <a:lnTo>
                    <a:pt x="19" y="106"/>
                  </a:lnTo>
                  <a:lnTo>
                    <a:pt x="19" y="109"/>
                  </a:lnTo>
                  <a:lnTo>
                    <a:pt x="19" y="112"/>
                  </a:lnTo>
                  <a:lnTo>
                    <a:pt x="20" y="111"/>
                  </a:lnTo>
                  <a:lnTo>
                    <a:pt x="21" y="111"/>
                  </a:lnTo>
                  <a:lnTo>
                    <a:pt x="22" y="112"/>
                  </a:lnTo>
                  <a:lnTo>
                    <a:pt x="23" y="114"/>
                  </a:lnTo>
                  <a:lnTo>
                    <a:pt x="19" y="118"/>
                  </a:lnTo>
                  <a:lnTo>
                    <a:pt x="15" y="123"/>
                  </a:lnTo>
                  <a:lnTo>
                    <a:pt x="19" y="122"/>
                  </a:lnTo>
                  <a:lnTo>
                    <a:pt x="20" y="122"/>
                  </a:lnTo>
                  <a:lnTo>
                    <a:pt x="23" y="121"/>
                  </a:lnTo>
                  <a:lnTo>
                    <a:pt x="23" y="129"/>
                  </a:lnTo>
                  <a:lnTo>
                    <a:pt x="19" y="131"/>
                  </a:lnTo>
                  <a:lnTo>
                    <a:pt x="16" y="133"/>
                  </a:lnTo>
                  <a:lnTo>
                    <a:pt x="9" y="137"/>
                  </a:lnTo>
                  <a:lnTo>
                    <a:pt x="11" y="142"/>
                  </a:lnTo>
                  <a:lnTo>
                    <a:pt x="11" y="144"/>
                  </a:lnTo>
                  <a:lnTo>
                    <a:pt x="12" y="144"/>
                  </a:lnTo>
                  <a:lnTo>
                    <a:pt x="13" y="144"/>
                  </a:lnTo>
                  <a:lnTo>
                    <a:pt x="15" y="144"/>
                  </a:lnTo>
                  <a:lnTo>
                    <a:pt x="21" y="141"/>
                  </a:lnTo>
                  <a:lnTo>
                    <a:pt x="21" y="146"/>
                  </a:lnTo>
                  <a:lnTo>
                    <a:pt x="25" y="145"/>
                  </a:lnTo>
                  <a:lnTo>
                    <a:pt x="28" y="145"/>
                  </a:lnTo>
                  <a:lnTo>
                    <a:pt x="32" y="144"/>
                  </a:lnTo>
                  <a:lnTo>
                    <a:pt x="36" y="143"/>
                  </a:lnTo>
                  <a:lnTo>
                    <a:pt x="44" y="143"/>
                  </a:lnTo>
                  <a:lnTo>
                    <a:pt x="42" y="144"/>
                  </a:lnTo>
                  <a:lnTo>
                    <a:pt x="41" y="146"/>
                  </a:lnTo>
                  <a:lnTo>
                    <a:pt x="40" y="150"/>
                  </a:lnTo>
                  <a:lnTo>
                    <a:pt x="19" y="150"/>
                  </a:lnTo>
                  <a:lnTo>
                    <a:pt x="15" y="157"/>
                  </a:lnTo>
                  <a:lnTo>
                    <a:pt x="13" y="160"/>
                  </a:lnTo>
                  <a:lnTo>
                    <a:pt x="11" y="164"/>
                  </a:lnTo>
                  <a:lnTo>
                    <a:pt x="8" y="167"/>
                  </a:lnTo>
                  <a:lnTo>
                    <a:pt x="6" y="170"/>
                  </a:lnTo>
                  <a:lnTo>
                    <a:pt x="3" y="172"/>
                  </a:lnTo>
                  <a:lnTo>
                    <a:pt x="0" y="174"/>
                  </a:lnTo>
                  <a:lnTo>
                    <a:pt x="3" y="175"/>
                  </a:lnTo>
                  <a:lnTo>
                    <a:pt x="5" y="176"/>
                  </a:lnTo>
                  <a:lnTo>
                    <a:pt x="8" y="177"/>
                  </a:lnTo>
                  <a:lnTo>
                    <a:pt x="9" y="177"/>
                  </a:lnTo>
                  <a:lnTo>
                    <a:pt x="11" y="176"/>
                  </a:lnTo>
                  <a:lnTo>
                    <a:pt x="11" y="170"/>
                  </a:lnTo>
                  <a:lnTo>
                    <a:pt x="15" y="168"/>
                  </a:lnTo>
                  <a:lnTo>
                    <a:pt x="19" y="167"/>
                  </a:lnTo>
                  <a:lnTo>
                    <a:pt x="22" y="167"/>
                  </a:lnTo>
                  <a:lnTo>
                    <a:pt x="25" y="167"/>
                  </a:lnTo>
                  <a:lnTo>
                    <a:pt x="28" y="168"/>
                  </a:lnTo>
                  <a:lnTo>
                    <a:pt x="30" y="168"/>
                  </a:lnTo>
                  <a:lnTo>
                    <a:pt x="34" y="163"/>
                  </a:lnTo>
                  <a:lnTo>
                    <a:pt x="39" y="163"/>
                  </a:lnTo>
                  <a:lnTo>
                    <a:pt x="43" y="164"/>
                  </a:lnTo>
                  <a:lnTo>
                    <a:pt x="46" y="165"/>
                  </a:lnTo>
                  <a:lnTo>
                    <a:pt x="50" y="165"/>
                  </a:lnTo>
                  <a:lnTo>
                    <a:pt x="50" y="164"/>
                  </a:lnTo>
                  <a:lnTo>
                    <a:pt x="51" y="161"/>
                  </a:lnTo>
                  <a:lnTo>
                    <a:pt x="52" y="159"/>
                  </a:lnTo>
                  <a:lnTo>
                    <a:pt x="53" y="158"/>
                  </a:lnTo>
                  <a:lnTo>
                    <a:pt x="56" y="158"/>
                  </a:lnTo>
                  <a:lnTo>
                    <a:pt x="60" y="158"/>
                  </a:lnTo>
                  <a:lnTo>
                    <a:pt x="67" y="159"/>
                  </a:lnTo>
                  <a:lnTo>
                    <a:pt x="74" y="160"/>
                  </a:lnTo>
                  <a:lnTo>
                    <a:pt x="80" y="160"/>
                  </a:lnTo>
                  <a:lnTo>
                    <a:pt x="83" y="159"/>
                  </a:lnTo>
                  <a:lnTo>
                    <a:pt x="86" y="157"/>
                  </a:lnTo>
                  <a:lnTo>
                    <a:pt x="92" y="154"/>
                  </a:lnTo>
                  <a:lnTo>
                    <a:pt x="92" y="150"/>
                  </a:lnTo>
                  <a:lnTo>
                    <a:pt x="90" y="150"/>
                  </a:lnTo>
                  <a:lnTo>
                    <a:pt x="87" y="150"/>
                  </a:lnTo>
                  <a:lnTo>
                    <a:pt x="82" y="150"/>
                  </a:lnTo>
                  <a:lnTo>
                    <a:pt x="83" y="149"/>
                  </a:lnTo>
                  <a:lnTo>
                    <a:pt x="83" y="148"/>
                  </a:lnTo>
                  <a:lnTo>
                    <a:pt x="84" y="145"/>
                  </a:lnTo>
                  <a:lnTo>
                    <a:pt x="85" y="142"/>
                  </a:lnTo>
                  <a:lnTo>
                    <a:pt x="86" y="141"/>
                  </a:lnTo>
                  <a:lnTo>
                    <a:pt x="89" y="140"/>
                  </a:lnTo>
                  <a:lnTo>
                    <a:pt x="91" y="140"/>
                  </a:lnTo>
                  <a:lnTo>
                    <a:pt x="94" y="140"/>
                  </a:lnTo>
                  <a:lnTo>
                    <a:pt x="95" y="139"/>
                  </a:lnTo>
                  <a:lnTo>
                    <a:pt x="96" y="139"/>
                  </a:lnTo>
                  <a:lnTo>
                    <a:pt x="97" y="136"/>
                  </a:lnTo>
                  <a:lnTo>
                    <a:pt x="98" y="132"/>
                  </a:lnTo>
                  <a:lnTo>
                    <a:pt x="99" y="128"/>
                  </a:lnTo>
                  <a:lnTo>
                    <a:pt x="99" y="125"/>
                  </a:lnTo>
                  <a:lnTo>
                    <a:pt x="98" y="124"/>
                  </a:lnTo>
                  <a:lnTo>
                    <a:pt x="97" y="122"/>
                  </a:lnTo>
                  <a:lnTo>
                    <a:pt x="97" y="121"/>
                  </a:lnTo>
                  <a:lnTo>
                    <a:pt x="96" y="120"/>
                  </a:lnTo>
                  <a:lnTo>
                    <a:pt x="96" y="119"/>
                  </a:lnTo>
                  <a:lnTo>
                    <a:pt x="93" y="118"/>
                  </a:lnTo>
                  <a:lnTo>
                    <a:pt x="91" y="118"/>
                  </a:lnTo>
                  <a:lnTo>
                    <a:pt x="88" y="118"/>
                  </a:lnTo>
                  <a:lnTo>
                    <a:pt x="86" y="118"/>
                  </a:lnTo>
                  <a:lnTo>
                    <a:pt x="84" y="123"/>
                  </a:lnTo>
                  <a:lnTo>
                    <a:pt x="83" y="123"/>
                  </a:lnTo>
                  <a:lnTo>
                    <a:pt x="82" y="123"/>
                  </a:lnTo>
                  <a:lnTo>
                    <a:pt x="82" y="122"/>
                  </a:lnTo>
                  <a:lnTo>
                    <a:pt x="81" y="121"/>
                  </a:lnTo>
                  <a:lnTo>
                    <a:pt x="80" y="121"/>
                  </a:lnTo>
                  <a:lnTo>
                    <a:pt x="78" y="121"/>
                  </a:lnTo>
                  <a:lnTo>
                    <a:pt x="80" y="110"/>
                  </a:lnTo>
                  <a:lnTo>
                    <a:pt x="78" y="109"/>
                  </a:lnTo>
                  <a:lnTo>
                    <a:pt x="77" y="109"/>
                  </a:lnTo>
                  <a:lnTo>
                    <a:pt x="76" y="106"/>
                  </a:lnTo>
                  <a:lnTo>
                    <a:pt x="78" y="106"/>
                  </a:lnTo>
                  <a:lnTo>
                    <a:pt x="80" y="105"/>
                  </a:lnTo>
                  <a:lnTo>
                    <a:pt x="81" y="105"/>
                  </a:lnTo>
                  <a:lnTo>
                    <a:pt x="81" y="104"/>
                  </a:lnTo>
                  <a:lnTo>
                    <a:pt x="80" y="102"/>
                  </a:lnTo>
                  <a:lnTo>
                    <a:pt x="76" y="102"/>
                  </a:lnTo>
                  <a:lnTo>
                    <a:pt x="71" y="95"/>
                  </a:lnTo>
                  <a:lnTo>
                    <a:pt x="65" y="87"/>
                  </a:lnTo>
                  <a:lnTo>
                    <a:pt x="63" y="86"/>
                  </a:lnTo>
                  <a:lnTo>
                    <a:pt x="62" y="86"/>
                  </a:lnTo>
                  <a:lnTo>
                    <a:pt x="60" y="86"/>
                  </a:lnTo>
                  <a:lnTo>
                    <a:pt x="59" y="85"/>
                  </a:lnTo>
                  <a:lnTo>
                    <a:pt x="58" y="83"/>
                  </a:lnTo>
                  <a:lnTo>
                    <a:pt x="57" y="80"/>
                  </a:lnTo>
                  <a:lnTo>
                    <a:pt x="56" y="75"/>
                  </a:lnTo>
                  <a:lnTo>
                    <a:pt x="55" y="72"/>
                  </a:lnTo>
                  <a:lnTo>
                    <a:pt x="54" y="70"/>
                  </a:lnTo>
                  <a:lnTo>
                    <a:pt x="53" y="67"/>
                  </a:lnTo>
                  <a:lnTo>
                    <a:pt x="51" y="66"/>
                  </a:lnTo>
                  <a:lnTo>
                    <a:pt x="50" y="65"/>
                  </a:lnTo>
                  <a:lnTo>
                    <a:pt x="48" y="65"/>
                  </a:lnTo>
                  <a:lnTo>
                    <a:pt x="47" y="65"/>
                  </a:lnTo>
                  <a:lnTo>
                    <a:pt x="46" y="64"/>
                  </a:lnTo>
                  <a:lnTo>
                    <a:pt x="46" y="60"/>
                  </a:lnTo>
                  <a:lnTo>
                    <a:pt x="43" y="59"/>
                  </a:lnTo>
                  <a:lnTo>
                    <a:pt x="42" y="60"/>
                  </a:lnTo>
                  <a:lnTo>
                    <a:pt x="40" y="60"/>
                  </a:lnTo>
                  <a:lnTo>
                    <a:pt x="38" y="60"/>
                  </a:lnTo>
                  <a:lnTo>
                    <a:pt x="40" y="57"/>
                  </a:lnTo>
                  <a:lnTo>
                    <a:pt x="43" y="53"/>
                  </a:lnTo>
                  <a:lnTo>
                    <a:pt x="44" y="51"/>
                  </a:lnTo>
                  <a:lnTo>
                    <a:pt x="44" y="49"/>
                  </a:lnTo>
                  <a:lnTo>
                    <a:pt x="43" y="48"/>
                  </a:lnTo>
                  <a:lnTo>
                    <a:pt x="40" y="46"/>
                  </a:lnTo>
                  <a:lnTo>
                    <a:pt x="45" y="43"/>
                  </a:lnTo>
                  <a:lnTo>
                    <a:pt x="48" y="40"/>
                  </a:lnTo>
                  <a:lnTo>
                    <a:pt x="50" y="39"/>
                  </a:lnTo>
                  <a:lnTo>
                    <a:pt x="51" y="35"/>
                  </a:lnTo>
                  <a:lnTo>
                    <a:pt x="52" y="31"/>
                  </a:lnTo>
                  <a:lnTo>
                    <a:pt x="52" y="28"/>
                  </a:lnTo>
                  <a:lnTo>
                    <a:pt x="51" y="26"/>
                  </a:lnTo>
                  <a:lnTo>
                    <a:pt x="50" y="25"/>
                  </a:lnTo>
                  <a:lnTo>
                    <a:pt x="49" y="24"/>
                  </a:lnTo>
                  <a:lnTo>
                    <a:pt x="47" y="24"/>
                  </a:lnTo>
                  <a:lnTo>
                    <a:pt x="45" y="23"/>
                  </a:lnTo>
                  <a:lnTo>
                    <a:pt x="40" y="24"/>
                  </a:lnTo>
                  <a:lnTo>
                    <a:pt x="35" y="25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4"/>
                  </a:lnTo>
                  <a:lnTo>
                    <a:pt x="24" y="21"/>
                  </a:lnTo>
                  <a:lnTo>
                    <a:pt x="24" y="19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32" y="10"/>
                  </a:lnTo>
                  <a:lnTo>
                    <a:pt x="36" y="10"/>
                  </a:lnTo>
                  <a:lnTo>
                    <a:pt x="36" y="5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1" y="1"/>
                  </a:lnTo>
                  <a:lnTo>
                    <a:pt x="28" y="1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auto">
            <a:xfrm>
              <a:off x="4510" y="1505"/>
              <a:ext cx="34" cy="157"/>
            </a:xfrm>
            <a:custGeom>
              <a:avLst/>
              <a:gdLst>
                <a:gd name="T0" fmla="*/ 12 w 34"/>
                <a:gd name="T1" fmla="*/ 3 h 157"/>
                <a:gd name="T2" fmla="*/ 10 w 34"/>
                <a:gd name="T3" fmla="*/ 5 h 157"/>
                <a:gd name="T4" fmla="*/ 9 w 34"/>
                <a:gd name="T5" fmla="*/ 9 h 157"/>
                <a:gd name="T6" fmla="*/ 11 w 34"/>
                <a:gd name="T7" fmla="*/ 17 h 157"/>
                <a:gd name="T8" fmla="*/ 11 w 34"/>
                <a:gd name="T9" fmla="*/ 21 h 157"/>
                <a:gd name="T10" fmla="*/ 4 w 34"/>
                <a:gd name="T11" fmla="*/ 28 h 157"/>
                <a:gd name="T12" fmla="*/ 1 w 34"/>
                <a:gd name="T13" fmla="*/ 31 h 157"/>
                <a:gd name="T14" fmla="*/ 0 w 34"/>
                <a:gd name="T15" fmla="*/ 39 h 157"/>
                <a:gd name="T16" fmla="*/ 2 w 34"/>
                <a:gd name="T17" fmla="*/ 52 h 157"/>
                <a:gd name="T18" fmla="*/ 4 w 34"/>
                <a:gd name="T19" fmla="*/ 63 h 157"/>
                <a:gd name="T20" fmla="*/ 3 w 34"/>
                <a:gd name="T21" fmla="*/ 80 h 157"/>
                <a:gd name="T22" fmla="*/ 2 w 34"/>
                <a:gd name="T23" fmla="*/ 99 h 157"/>
                <a:gd name="T24" fmla="*/ 4 w 34"/>
                <a:gd name="T25" fmla="*/ 102 h 157"/>
                <a:gd name="T26" fmla="*/ 2 w 34"/>
                <a:gd name="T27" fmla="*/ 108 h 157"/>
                <a:gd name="T28" fmla="*/ 1 w 34"/>
                <a:gd name="T29" fmla="*/ 111 h 157"/>
                <a:gd name="T30" fmla="*/ 5 w 34"/>
                <a:gd name="T31" fmla="*/ 122 h 157"/>
                <a:gd name="T32" fmla="*/ 3 w 34"/>
                <a:gd name="T33" fmla="*/ 136 h 157"/>
                <a:gd name="T34" fmla="*/ 4 w 34"/>
                <a:gd name="T35" fmla="*/ 147 h 157"/>
                <a:gd name="T36" fmla="*/ 6 w 34"/>
                <a:gd name="T37" fmla="*/ 145 h 157"/>
                <a:gd name="T38" fmla="*/ 9 w 34"/>
                <a:gd name="T39" fmla="*/ 146 h 157"/>
                <a:gd name="T40" fmla="*/ 15 w 34"/>
                <a:gd name="T41" fmla="*/ 152 h 157"/>
                <a:gd name="T42" fmla="*/ 19 w 34"/>
                <a:gd name="T43" fmla="*/ 157 h 157"/>
                <a:gd name="T44" fmla="*/ 19 w 34"/>
                <a:gd name="T45" fmla="*/ 152 h 157"/>
                <a:gd name="T46" fmla="*/ 19 w 34"/>
                <a:gd name="T47" fmla="*/ 147 h 157"/>
                <a:gd name="T48" fmla="*/ 14 w 34"/>
                <a:gd name="T49" fmla="*/ 139 h 157"/>
                <a:gd name="T50" fmla="*/ 10 w 34"/>
                <a:gd name="T51" fmla="*/ 132 h 157"/>
                <a:gd name="T52" fmla="*/ 9 w 34"/>
                <a:gd name="T53" fmla="*/ 125 h 157"/>
                <a:gd name="T54" fmla="*/ 10 w 34"/>
                <a:gd name="T55" fmla="*/ 117 h 157"/>
                <a:gd name="T56" fmla="*/ 13 w 34"/>
                <a:gd name="T57" fmla="*/ 104 h 157"/>
                <a:gd name="T58" fmla="*/ 17 w 34"/>
                <a:gd name="T59" fmla="*/ 95 h 157"/>
                <a:gd name="T60" fmla="*/ 17 w 34"/>
                <a:gd name="T61" fmla="*/ 93 h 157"/>
                <a:gd name="T62" fmla="*/ 19 w 34"/>
                <a:gd name="T63" fmla="*/ 92 h 157"/>
                <a:gd name="T64" fmla="*/ 24 w 34"/>
                <a:gd name="T65" fmla="*/ 91 h 157"/>
                <a:gd name="T66" fmla="*/ 30 w 34"/>
                <a:gd name="T67" fmla="*/ 95 h 157"/>
                <a:gd name="T68" fmla="*/ 29 w 34"/>
                <a:gd name="T69" fmla="*/ 89 h 157"/>
                <a:gd name="T70" fmla="*/ 24 w 34"/>
                <a:gd name="T71" fmla="*/ 81 h 157"/>
                <a:gd name="T72" fmla="*/ 21 w 34"/>
                <a:gd name="T73" fmla="*/ 80 h 157"/>
                <a:gd name="T74" fmla="*/ 20 w 34"/>
                <a:gd name="T75" fmla="*/ 72 h 157"/>
                <a:gd name="T76" fmla="*/ 21 w 34"/>
                <a:gd name="T77" fmla="*/ 49 h 157"/>
                <a:gd name="T78" fmla="*/ 19 w 34"/>
                <a:gd name="T79" fmla="*/ 43 h 157"/>
                <a:gd name="T80" fmla="*/ 21 w 34"/>
                <a:gd name="T81" fmla="*/ 38 h 157"/>
                <a:gd name="T82" fmla="*/ 23 w 34"/>
                <a:gd name="T83" fmla="*/ 34 h 157"/>
                <a:gd name="T84" fmla="*/ 22 w 34"/>
                <a:gd name="T85" fmla="*/ 32 h 157"/>
                <a:gd name="T86" fmla="*/ 19 w 34"/>
                <a:gd name="T87" fmla="*/ 26 h 157"/>
                <a:gd name="T88" fmla="*/ 15 w 34"/>
                <a:gd name="T89" fmla="*/ 21 h 157"/>
                <a:gd name="T90" fmla="*/ 15 w 34"/>
                <a:gd name="T91" fmla="*/ 17 h 157"/>
                <a:gd name="T92" fmla="*/ 18 w 34"/>
                <a:gd name="T93" fmla="*/ 11 h 157"/>
                <a:gd name="T94" fmla="*/ 18 w 34"/>
                <a:gd name="T95" fmla="*/ 6 h 157"/>
                <a:gd name="T96" fmla="*/ 13 w 34"/>
                <a:gd name="T97" fmla="*/ 0 h 1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4"/>
                <a:gd name="T148" fmla="*/ 0 h 157"/>
                <a:gd name="T149" fmla="*/ 34 w 34"/>
                <a:gd name="T150" fmla="*/ 157 h 15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4" h="157">
                  <a:moveTo>
                    <a:pt x="13" y="0"/>
                  </a:moveTo>
                  <a:lnTo>
                    <a:pt x="12" y="3"/>
                  </a:lnTo>
                  <a:lnTo>
                    <a:pt x="11" y="4"/>
                  </a:lnTo>
                  <a:lnTo>
                    <a:pt x="10" y="5"/>
                  </a:lnTo>
                  <a:lnTo>
                    <a:pt x="7" y="6"/>
                  </a:lnTo>
                  <a:lnTo>
                    <a:pt x="9" y="9"/>
                  </a:lnTo>
                  <a:lnTo>
                    <a:pt x="10" y="13"/>
                  </a:lnTo>
                  <a:lnTo>
                    <a:pt x="11" y="17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7" y="25"/>
                  </a:lnTo>
                  <a:lnTo>
                    <a:pt x="4" y="28"/>
                  </a:lnTo>
                  <a:lnTo>
                    <a:pt x="2" y="29"/>
                  </a:lnTo>
                  <a:lnTo>
                    <a:pt x="1" y="31"/>
                  </a:lnTo>
                  <a:lnTo>
                    <a:pt x="0" y="35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2"/>
                  </a:lnTo>
                  <a:lnTo>
                    <a:pt x="3" y="58"/>
                  </a:lnTo>
                  <a:lnTo>
                    <a:pt x="4" y="63"/>
                  </a:lnTo>
                  <a:lnTo>
                    <a:pt x="4" y="69"/>
                  </a:lnTo>
                  <a:lnTo>
                    <a:pt x="3" y="80"/>
                  </a:lnTo>
                  <a:lnTo>
                    <a:pt x="1" y="99"/>
                  </a:lnTo>
                  <a:lnTo>
                    <a:pt x="2" y="99"/>
                  </a:lnTo>
                  <a:lnTo>
                    <a:pt x="3" y="100"/>
                  </a:lnTo>
                  <a:lnTo>
                    <a:pt x="4" y="102"/>
                  </a:lnTo>
                  <a:lnTo>
                    <a:pt x="3" y="107"/>
                  </a:lnTo>
                  <a:lnTo>
                    <a:pt x="2" y="108"/>
                  </a:lnTo>
                  <a:lnTo>
                    <a:pt x="2" y="109"/>
                  </a:lnTo>
                  <a:lnTo>
                    <a:pt x="1" y="111"/>
                  </a:lnTo>
                  <a:lnTo>
                    <a:pt x="5" y="118"/>
                  </a:lnTo>
                  <a:lnTo>
                    <a:pt x="5" y="122"/>
                  </a:lnTo>
                  <a:lnTo>
                    <a:pt x="5" y="127"/>
                  </a:lnTo>
                  <a:lnTo>
                    <a:pt x="3" y="136"/>
                  </a:lnTo>
                  <a:lnTo>
                    <a:pt x="0" y="155"/>
                  </a:lnTo>
                  <a:lnTo>
                    <a:pt x="4" y="147"/>
                  </a:lnTo>
                  <a:lnTo>
                    <a:pt x="5" y="146"/>
                  </a:lnTo>
                  <a:lnTo>
                    <a:pt x="6" y="145"/>
                  </a:lnTo>
                  <a:lnTo>
                    <a:pt x="8" y="145"/>
                  </a:lnTo>
                  <a:lnTo>
                    <a:pt x="9" y="146"/>
                  </a:lnTo>
                  <a:lnTo>
                    <a:pt x="15" y="151"/>
                  </a:lnTo>
                  <a:lnTo>
                    <a:pt x="15" y="152"/>
                  </a:lnTo>
                  <a:lnTo>
                    <a:pt x="17" y="154"/>
                  </a:lnTo>
                  <a:lnTo>
                    <a:pt x="19" y="157"/>
                  </a:lnTo>
                  <a:lnTo>
                    <a:pt x="19" y="154"/>
                  </a:lnTo>
                  <a:lnTo>
                    <a:pt x="19" y="152"/>
                  </a:lnTo>
                  <a:lnTo>
                    <a:pt x="19" y="150"/>
                  </a:lnTo>
                  <a:lnTo>
                    <a:pt x="19" y="147"/>
                  </a:lnTo>
                  <a:lnTo>
                    <a:pt x="17" y="144"/>
                  </a:lnTo>
                  <a:lnTo>
                    <a:pt x="14" y="139"/>
                  </a:lnTo>
                  <a:lnTo>
                    <a:pt x="11" y="134"/>
                  </a:lnTo>
                  <a:lnTo>
                    <a:pt x="10" y="132"/>
                  </a:lnTo>
                  <a:lnTo>
                    <a:pt x="9" y="130"/>
                  </a:lnTo>
                  <a:lnTo>
                    <a:pt x="9" y="125"/>
                  </a:lnTo>
                  <a:lnTo>
                    <a:pt x="9" y="121"/>
                  </a:lnTo>
                  <a:lnTo>
                    <a:pt x="10" y="117"/>
                  </a:lnTo>
                  <a:lnTo>
                    <a:pt x="11" y="113"/>
                  </a:lnTo>
                  <a:lnTo>
                    <a:pt x="13" y="104"/>
                  </a:lnTo>
                  <a:lnTo>
                    <a:pt x="15" y="95"/>
                  </a:lnTo>
                  <a:lnTo>
                    <a:pt x="17" y="95"/>
                  </a:lnTo>
                  <a:lnTo>
                    <a:pt x="17" y="94"/>
                  </a:lnTo>
                  <a:lnTo>
                    <a:pt x="17" y="93"/>
                  </a:lnTo>
                  <a:lnTo>
                    <a:pt x="17" y="92"/>
                  </a:lnTo>
                  <a:lnTo>
                    <a:pt x="19" y="92"/>
                  </a:lnTo>
                  <a:lnTo>
                    <a:pt x="22" y="92"/>
                  </a:lnTo>
                  <a:lnTo>
                    <a:pt x="24" y="91"/>
                  </a:lnTo>
                  <a:lnTo>
                    <a:pt x="26" y="92"/>
                  </a:lnTo>
                  <a:lnTo>
                    <a:pt x="30" y="95"/>
                  </a:lnTo>
                  <a:lnTo>
                    <a:pt x="34" y="99"/>
                  </a:lnTo>
                  <a:lnTo>
                    <a:pt x="29" y="89"/>
                  </a:lnTo>
                  <a:lnTo>
                    <a:pt x="26" y="83"/>
                  </a:lnTo>
                  <a:lnTo>
                    <a:pt x="24" y="81"/>
                  </a:lnTo>
                  <a:lnTo>
                    <a:pt x="23" y="80"/>
                  </a:lnTo>
                  <a:lnTo>
                    <a:pt x="21" y="80"/>
                  </a:lnTo>
                  <a:lnTo>
                    <a:pt x="20" y="77"/>
                  </a:lnTo>
                  <a:lnTo>
                    <a:pt x="20" y="72"/>
                  </a:lnTo>
                  <a:lnTo>
                    <a:pt x="21" y="60"/>
                  </a:lnTo>
                  <a:lnTo>
                    <a:pt x="21" y="49"/>
                  </a:lnTo>
                  <a:lnTo>
                    <a:pt x="20" y="45"/>
                  </a:lnTo>
                  <a:lnTo>
                    <a:pt x="19" y="43"/>
                  </a:lnTo>
                  <a:lnTo>
                    <a:pt x="20" y="41"/>
                  </a:lnTo>
                  <a:lnTo>
                    <a:pt x="21" y="38"/>
                  </a:lnTo>
                  <a:lnTo>
                    <a:pt x="22" y="36"/>
                  </a:lnTo>
                  <a:lnTo>
                    <a:pt x="23" y="34"/>
                  </a:lnTo>
                  <a:lnTo>
                    <a:pt x="23" y="33"/>
                  </a:lnTo>
                  <a:lnTo>
                    <a:pt x="22" y="32"/>
                  </a:lnTo>
                  <a:lnTo>
                    <a:pt x="21" y="30"/>
                  </a:lnTo>
                  <a:lnTo>
                    <a:pt x="19" y="26"/>
                  </a:lnTo>
                  <a:lnTo>
                    <a:pt x="16" y="23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17"/>
                  </a:lnTo>
                  <a:lnTo>
                    <a:pt x="17" y="14"/>
                  </a:lnTo>
                  <a:lnTo>
                    <a:pt x="18" y="11"/>
                  </a:lnTo>
                  <a:lnTo>
                    <a:pt x="19" y="8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4483" y="1666"/>
              <a:ext cx="73" cy="70"/>
            </a:xfrm>
            <a:custGeom>
              <a:avLst/>
              <a:gdLst>
                <a:gd name="T0" fmla="*/ 23 w 73"/>
                <a:gd name="T1" fmla="*/ 1 h 70"/>
                <a:gd name="T2" fmla="*/ 21 w 73"/>
                <a:gd name="T3" fmla="*/ 4 h 70"/>
                <a:gd name="T4" fmla="*/ 21 w 73"/>
                <a:gd name="T5" fmla="*/ 8 h 70"/>
                <a:gd name="T6" fmla="*/ 23 w 73"/>
                <a:gd name="T7" fmla="*/ 11 h 70"/>
                <a:gd name="T8" fmla="*/ 25 w 73"/>
                <a:gd name="T9" fmla="*/ 14 h 70"/>
                <a:gd name="T10" fmla="*/ 25 w 73"/>
                <a:gd name="T11" fmla="*/ 20 h 70"/>
                <a:gd name="T12" fmla="*/ 22 w 73"/>
                <a:gd name="T13" fmla="*/ 30 h 70"/>
                <a:gd name="T14" fmla="*/ 19 w 73"/>
                <a:gd name="T15" fmla="*/ 34 h 70"/>
                <a:gd name="T16" fmla="*/ 20 w 73"/>
                <a:gd name="T17" fmla="*/ 38 h 70"/>
                <a:gd name="T18" fmla="*/ 21 w 73"/>
                <a:gd name="T19" fmla="*/ 42 h 70"/>
                <a:gd name="T20" fmla="*/ 18 w 73"/>
                <a:gd name="T21" fmla="*/ 43 h 70"/>
                <a:gd name="T22" fmla="*/ 17 w 73"/>
                <a:gd name="T23" fmla="*/ 46 h 70"/>
                <a:gd name="T24" fmla="*/ 13 w 73"/>
                <a:gd name="T25" fmla="*/ 43 h 70"/>
                <a:gd name="T26" fmla="*/ 5 w 73"/>
                <a:gd name="T27" fmla="*/ 42 h 70"/>
                <a:gd name="T28" fmla="*/ 7 w 73"/>
                <a:gd name="T29" fmla="*/ 48 h 70"/>
                <a:gd name="T30" fmla="*/ 4 w 73"/>
                <a:gd name="T31" fmla="*/ 50 h 70"/>
                <a:gd name="T32" fmla="*/ 3 w 73"/>
                <a:gd name="T33" fmla="*/ 57 h 70"/>
                <a:gd name="T34" fmla="*/ 6 w 73"/>
                <a:gd name="T35" fmla="*/ 64 h 70"/>
                <a:gd name="T36" fmla="*/ 3 w 73"/>
                <a:gd name="T37" fmla="*/ 69 h 70"/>
                <a:gd name="T38" fmla="*/ 4 w 73"/>
                <a:gd name="T39" fmla="*/ 70 h 70"/>
                <a:gd name="T40" fmla="*/ 17 w 73"/>
                <a:gd name="T41" fmla="*/ 67 h 70"/>
                <a:gd name="T42" fmla="*/ 19 w 73"/>
                <a:gd name="T43" fmla="*/ 65 h 70"/>
                <a:gd name="T44" fmla="*/ 16 w 73"/>
                <a:gd name="T45" fmla="*/ 64 h 70"/>
                <a:gd name="T46" fmla="*/ 9 w 73"/>
                <a:gd name="T47" fmla="*/ 60 h 70"/>
                <a:gd name="T48" fmla="*/ 10 w 73"/>
                <a:gd name="T49" fmla="*/ 56 h 70"/>
                <a:gd name="T50" fmla="*/ 13 w 73"/>
                <a:gd name="T51" fmla="*/ 55 h 70"/>
                <a:gd name="T52" fmla="*/ 19 w 73"/>
                <a:gd name="T53" fmla="*/ 53 h 70"/>
                <a:gd name="T54" fmla="*/ 27 w 73"/>
                <a:gd name="T55" fmla="*/ 53 h 70"/>
                <a:gd name="T56" fmla="*/ 37 w 73"/>
                <a:gd name="T57" fmla="*/ 61 h 70"/>
                <a:gd name="T58" fmla="*/ 46 w 73"/>
                <a:gd name="T59" fmla="*/ 54 h 70"/>
                <a:gd name="T60" fmla="*/ 50 w 73"/>
                <a:gd name="T61" fmla="*/ 50 h 70"/>
                <a:gd name="T62" fmla="*/ 60 w 73"/>
                <a:gd name="T63" fmla="*/ 46 h 70"/>
                <a:gd name="T64" fmla="*/ 73 w 73"/>
                <a:gd name="T65" fmla="*/ 44 h 70"/>
                <a:gd name="T66" fmla="*/ 70 w 73"/>
                <a:gd name="T67" fmla="*/ 40 h 70"/>
                <a:gd name="T68" fmla="*/ 68 w 73"/>
                <a:gd name="T69" fmla="*/ 34 h 70"/>
                <a:gd name="T70" fmla="*/ 69 w 73"/>
                <a:gd name="T71" fmla="*/ 30 h 70"/>
                <a:gd name="T72" fmla="*/ 65 w 73"/>
                <a:gd name="T73" fmla="*/ 32 h 70"/>
                <a:gd name="T74" fmla="*/ 61 w 73"/>
                <a:gd name="T75" fmla="*/ 33 h 70"/>
                <a:gd name="T76" fmla="*/ 58 w 73"/>
                <a:gd name="T77" fmla="*/ 31 h 70"/>
                <a:gd name="T78" fmla="*/ 57 w 73"/>
                <a:gd name="T79" fmla="*/ 27 h 70"/>
                <a:gd name="T80" fmla="*/ 49 w 73"/>
                <a:gd name="T81" fmla="*/ 26 h 70"/>
                <a:gd name="T82" fmla="*/ 42 w 73"/>
                <a:gd name="T83" fmla="*/ 25 h 70"/>
                <a:gd name="T84" fmla="*/ 39 w 73"/>
                <a:gd name="T85" fmla="*/ 18 h 70"/>
                <a:gd name="T86" fmla="*/ 36 w 73"/>
                <a:gd name="T87" fmla="*/ 11 h 70"/>
                <a:gd name="T88" fmla="*/ 31 w 73"/>
                <a:gd name="T89" fmla="*/ 5 h 70"/>
                <a:gd name="T90" fmla="*/ 25 w 73"/>
                <a:gd name="T91" fmla="*/ 0 h 7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3"/>
                <a:gd name="T139" fmla="*/ 0 h 70"/>
                <a:gd name="T140" fmla="*/ 73 w 73"/>
                <a:gd name="T141" fmla="*/ 70 h 7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3" h="70">
                  <a:moveTo>
                    <a:pt x="25" y="0"/>
                  </a:moveTo>
                  <a:lnTo>
                    <a:pt x="23" y="1"/>
                  </a:lnTo>
                  <a:lnTo>
                    <a:pt x="22" y="2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21" y="8"/>
                  </a:lnTo>
                  <a:lnTo>
                    <a:pt x="22" y="10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5" y="14"/>
                  </a:lnTo>
                  <a:lnTo>
                    <a:pt x="25" y="17"/>
                  </a:lnTo>
                  <a:lnTo>
                    <a:pt x="25" y="20"/>
                  </a:lnTo>
                  <a:lnTo>
                    <a:pt x="25" y="25"/>
                  </a:lnTo>
                  <a:lnTo>
                    <a:pt x="22" y="30"/>
                  </a:lnTo>
                  <a:lnTo>
                    <a:pt x="20" y="32"/>
                  </a:lnTo>
                  <a:lnTo>
                    <a:pt x="19" y="34"/>
                  </a:lnTo>
                  <a:lnTo>
                    <a:pt x="19" y="37"/>
                  </a:lnTo>
                  <a:lnTo>
                    <a:pt x="20" y="38"/>
                  </a:lnTo>
                  <a:lnTo>
                    <a:pt x="21" y="39"/>
                  </a:lnTo>
                  <a:lnTo>
                    <a:pt x="21" y="42"/>
                  </a:lnTo>
                  <a:lnTo>
                    <a:pt x="19" y="42"/>
                  </a:lnTo>
                  <a:lnTo>
                    <a:pt x="18" y="43"/>
                  </a:lnTo>
                  <a:lnTo>
                    <a:pt x="18" y="45"/>
                  </a:lnTo>
                  <a:lnTo>
                    <a:pt x="17" y="46"/>
                  </a:lnTo>
                  <a:lnTo>
                    <a:pt x="14" y="44"/>
                  </a:lnTo>
                  <a:lnTo>
                    <a:pt x="13" y="43"/>
                  </a:lnTo>
                  <a:lnTo>
                    <a:pt x="13" y="42"/>
                  </a:lnTo>
                  <a:lnTo>
                    <a:pt x="5" y="42"/>
                  </a:lnTo>
                  <a:lnTo>
                    <a:pt x="6" y="45"/>
                  </a:lnTo>
                  <a:lnTo>
                    <a:pt x="7" y="48"/>
                  </a:lnTo>
                  <a:lnTo>
                    <a:pt x="6" y="49"/>
                  </a:lnTo>
                  <a:lnTo>
                    <a:pt x="4" y="50"/>
                  </a:lnTo>
                  <a:lnTo>
                    <a:pt x="0" y="52"/>
                  </a:lnTo>
                  <a:lnTo>
                    <a:pt x="3" y="57"/>
                  </a:lnTo>
                  <a:lnTo>
                    <a:pt x="5" y="61"/>
                  </a:lnTo>
                  <a:lnTo>
                    <a:pt x="6" y="64"/>
                  </a:lnTo>
                  <a:lnTo>
                    <a:pt x="5" y="66"/>
                  </a:lnTo>
                  <a:lnTo>
                    <a:pt x="3" y="69"/>
                  </a:lnTo>
                  <a:lnTo>
                    <a:pt x="3" y="70"/>
                  </a:lnTo>
                  <a:lnTo>
                    <a:pt x="4" y="70"/>
                  </a:lnTo>
                  <a:lnTo>
                    <a:pt x="11" y="69"/>
                  </a:lnTo>
                  <a:lnTo>
                    <a:pt x="17" y="67"/>
                  </a:lnTo>
                  <a:lnTo>
                    <a:pt x="19" y="66"/>
                  </a:lnTo>
                  <a:lnTo>
                    <a:pt x="19" y="65"/>
                  </a:lnTo>
                  <a:lnTo>
                    <a:pt x="18" y="64"/>
                  </a:lnTo>
                  <a:lnTo>
                    <a:pt x="16" y="64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10" y="56"/>
                  </a:lnTo>
                  <a:lnTo>
                    <a:pt x="9" y="55"/>
                  </a:lnTo>
                  <a:lnTo>
                    <a:pt x="13" y="55"/>
                  </a:lnTo>
                  <a:lnTo>
                    <a:pt x="17" y="53"/>
                  </a:lnTo>
                  <a:lnTo>
                    <a:pt x="19" y="53"/>
                  </a:lnTo>
                  <a:lnTo>
                    <a:pt x="22" y="53"/>
                  </a:lnTo>
                  <a:lnTo>
                    <a:pt x="27" y="53"/>
                  </a:lnTo>
                  <a:lnTo>
                    <a:pt x="30" y="61"/>
                  </a:lnTo>
                  <a:lnTo>
                    <a:pt x="37" y="61"/>
                  </a:lnTo>
                  <a:lnTo>
                    <a:pt x="44" y="61"/>
                  </a:lnTo>
                  <a:lnTo>
                    <a:pt x="46" y="54"/>
                  </a:lnTo>
                  <a:lnTo>
                    <a:pt x="47" y="52"/>
                  </a:lnTo>
                  <a:lnTo>
                    <a:pt x="50" y="50"/>
                  </a:lnTo>
                  <a:lnTo>
                    <a:pt x="54" y="47"/>
                  </a:lnTo>
                  <a:lnTo>
                    <a:pt x="60" y="46"/>
                  </a:lnTo>
                  <a:lnTo>
                    <a:pt x="66" y="45"/>
                  </a:lnTo>
                  <a:lnTo>
                    <a:pt x="73" y="44"/>
                  </a:lnTo>
                  <a:lnTo>
                    <a:pt x="71" y="42"/>
                  </a:lnTo>
                  <a:lnTo>
                    <a:pt x="70" y="40"/>
                  </a:lnTo>
                  <a:lnTo>
                    <a:pt x="67" y="38"/>
                  </a:lnTo>
                  <a:lnTo>
                    <a:pt x="68" y="34"/>
                  </a:lnTo>
                  <a:lnTo>
                    <a:pt x="69" y="32"/>
                  </a:lnTo>
                  <a:lnTo>
                    <a:pt x="69" y="30"/>
                  </a:lnTo>
                  <a:lnTo>
                    <a:pt x="67" y="31"/>
                  </a:lnTo>
                  <a:lnTo>
                    <a:pt x="65" y="32"/>
                  </a:lnTo>
                  <a:lnTo>
                    <a:pt x="62" y="33"/>
                  </a:lnTo>
                  <a:lnTo>
                    <a:pt x="61" y="33"/>
                  </a:lnTo>
                  <a:lnTo>
                    <a:pt x="59" y="32"/>
                  </a:lnTo>
                  <a:lnTo>
                    <a:pt x="58" y="31"/>
                  </a:lnTo>
                  <a:lnTo>
                    <a:pt x="58" y="30"/>
                  </a:lnTo>
                  <a:lnTo>
                    <a:pt x="57" y="27"/>
                  </a:lnTo>
                  <a:lnTo>
                    <a:pt x="53" y="26"/>
                  </a:lnTo>
                  <a:lnTo>
                    <a:pt x="49" y="26"/>
                  </a:lnTo>
                  <a:lnTo>
                    <a:pt x="45" y="26"/>
                  </a:lnTo>
                  <a:lnTo>
                    <a:pt x="42" y="25"/>
                  </a:lnTo>
                  <a:lnTo>
                    <a:pt x="40" y="22"/>
                  </a:lnTo>
                  <a:lnTo>
                    <a:pt x="39" y="18"/>
                  </a:lnTo>
                  <a:lnTo>
                    <a:pt x="38" y="15"/>
                  </a:lnTo>
                  <a:lnTo>
                    <a:pt x="36" y="11"/>
                  </a:lnTo>
                  <a:lnTo>
                    <a:pt x="34" y="8"/>
                  </a:lnTo>
                  <a:lnTo>
                    <a:pt x="31" y="5"/>
                  </a:lnTo>
                  <a:lnTo>
                    <a:pt x="27" y="3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4375" y="1746"/>
              <a:ext cx="135" cy="135"/>
            </a:xfrm>
            <a:custGeom>
              <a:avLst/>
              <a:gdLst>
                <a:gd name="T0" fmla="*/ 117 w 135"/>
                <a:gd name="T1" fmla="*/ 5 h 135"/>
                <a:gd name="T2" fmla="*/ 113 w 135"/>
                <a:gd name="T3" fmla="*/ 16 h 135"/>
                <a:gd name="T4" fmla="*/ 108 w 135"/>
                <a:gd name="T5" fmla="*/ 25 h 135"/>
                <a:gd name="T6" fmla="*/ 114 w 135"/>
                <a:gd name="T7" fmla="*/ 30 h 135"/>
                <a:gd name="T8" fmla="*/ 110 w 135"/>
                <a:gd name="T9" fmla="*/ 39 h 135"/>
                <a:gd name="T10" fmla="*/ 92 w 135"/>
                <a:gd name="T11" fmla="*/ 63 h 135"/>
                <a:gd name="T12" fmla="*/ 90 w 135"/>
                <a:gd name="T13" fmla="*/ 71 h 135"/>
                <a:gd name="T14" fmla="*/ 84 w 135"/>
                <a:gd name="T15" fmla="*/ 74 h 135"/>
                <a:gd name="T16" fmla="*/ 71 w 135"/>
                <a:gd name="T17" fmla="*/ 79 h 135"/>
                <a:gd name="T18" fmla="*/ 71 w 135"/>
                <a:gd name="T19" fmla="*/ 71 h 135"/>
                <a:gd name="T20" fmla="*/ 72 w 135"/>
                <a:gd name="T21" fmla="*/ 68 h 135"/>
                <a:gd name="T22" fmla="*/ 67 w 135"/>
                <a:gd name="T23" fmla="*/ 76 h 135"/>
                <a:gd name="T24" fmla="*/ 64 w 135"/>
                <a:gd name="T25" fmla="*/ 86 h 135"/>
                <a:gd name="T26" fmla="*/ 59 w 135"/>
                <a:gd name="T27" fmla="*/ 93 h 135"/>
                <a:gd name="T28" fmla="*/ 62 w 135"/>
                <a:gd name="T29" fmla="*/ 98 h 135"/>
                <a:gd name="T30" fmla="*/ 58 w 135"/>
                <a:gd name="T31" fmla="*/ 103 h 135"/>
                <a:gd name="T32" fmla="*/ 46 w 135"/>
                <a:gd name="T33" fmla="*/ 100 h 135"/>
                <a:gd name="T34" fmla="*/ 33 w 135"/>
                <a:gd name="T35" fmla="*/ 102 h 135"/>
                <a:gd name="T36" fmla="*/ 28 w 135"/>
                <a:gd name="T37" fmla="*/ 101 h 135"/>
                <a:gd name="T38" fmla="*/ 14 w 135"/>
                <a:gd name="T39" fmla="*/ 115 h 135"/>
                <a:gd name="T40" fmla="*/ 5 w 135"/>
                <a:gd name="T41" fmla="*/ 120 h 135"/>
                <a:gd name="T42" fmla="*/ 7 w 135"/>
                <a:gd name="T43" fmla="*/ 125 h 135"/>
                <a:gd name="T44" fmla="*/ 19 w 135"/>
                <a:gd name="T45" fmla="*/ 119 h 135"/>
                <a:gd name="T46" fmla="*/ 51 w 135"/>
                <a:gd name="T47" fmla="*/ 119 h 135"/>
                <a:gd name="T48" fmla="*/ 48 w 135"/>
                <a:gd name="T49" fmla="*/ 129 h 135"/>
                <a:gd name="T50" fmla="*/ 52 w 135"/>
                <a:gd name="T51" fmla="*/ 135 h 135"/>
                <a:gd name="T52" fmla="*/ 60 w 135"/>
                <a:gd name="T53" fmla="*/ 135 h 135"/>
                <a:gd name="T54" fmla="*/ 64 w 135"/>
                <a:gd name="T55" fmla="*/ 127 h 135"/>
                <a:gd name="T56" fmla="*/ 71 w 135"/>
                <a:gd name="T57" fmla="*/ 123 h 135"/>
                <a:gd name="T58" fmla="*/ 75 w 135"/>
                <a:gd name="T59" fmla="*/ 116 h 135"/>
                <a:gd name="T60" fmla="*/ 77 w 135"/>
                <a:gd name="T61" fmla="*/ 120 h 135"/>
                <a:gd name="T62" fmla="*/ 80 w 135"/>
                <a:gd name="T63" fmla="*/ 118 h 135"/>
                <a:gd name="T64" fmla="*/ 90 w 135"/>
                <a:gd name="T65" fmla="*/ 119 h 135"/>
                <a:gd name="T66" fmla="*/ 99 w 135"/>
                <a:gd name="T67" fmla="*/ 118 h 135"/>
                <a:gd name="T68" fmla="*/ 102 w 135"/>
                <a:gd name="T69" fmla="*/ 117 h 135"/>
                <a:gd name="T70" fmla="*/ 110 w 135"/>
                <a:gd name="T71" fmla="*/ 110 h 135"/>
                <a:gd name="T72" fmla="*/ 111 w 135"/>
                <a:gd name="T73" fmla="*/ 99 h 135"/>
                <a:gd name="T74" fmla="*/ 115 w 135"/>
                <a:gd name="T75" fmla="*/ 100 h 135"/>
                <a:gd name="T76" fmla="*/ 111 w 135"/>
                <a:gd name="T77" fmla="*/ 112 h 135"/>
                <a:gd name="T78" fmla="*/ 122 w 135"/>
                <a:gd name="T79" fmla="*/ 103 h 135"/>
                <a:gd name="T80" fmla="*/ 117 w 135"/>
                <a:gd name="T81" fmla="*/ 94 h 135"/>
                <a:gd name="T82" fmla="*/ 119 w 135"/>
                <a:gd name="T83" fmla="*/ 86 h 135"/>
                <a:gd name="T84" fmla="*/ 123 w 135"/>
                <a:gd name="T85" fmla="*/ 69 h 135"/>
                <a:gd name="T86" fmla="*/ 124 w 135"/>
                <a:gd name="T87" fmla="*/ 51 h 135"/>
                <a:gd name="T88" fmla="*/ 131 w 135"/>
                <a:gd name="T89" fmla="*/ 48 h 135"/>
                <a:gd name="T90" fmla="*/ 129 w 135"/>
                <a:gd name="T91" fmla="*/ 43 h 135"/>
                <a:gd name="T92" fmla="*/ 135 w 135"/>
                <a:gd name="T93" fmla="*/ 30 h 135"/>
                <a:gd name="T94" fmla="*/ 130 w 135"/>
                <a:gd name="T95" fmla="*/ 8 h 135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35"/>
                <a:gd name="T145" fmla="*/ 0 h 135"/>
                <a:gd name="T146" fmla="*/ 135 w 135"/>
                <a:gd name="T147" fmla="*/ 135 h 135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35" h="135">
                  <a:moveTo>
                    <a:pt x="117" y="0"/>
                  </a:moveTo>
                  <a:lnTo>
                    <a:pt x="117" y="2"/>
                  </a:lnTo>
                  <a:lnTo>
                    <a:pt x="117" y="3"/>
                  </a:lnTo>
                  <a:lnTo>
                    <a:pt x="117" y="5"/>
                  </a:lnTo>
                  <a:lnTo>
                    <a:pt x="117" y="6"/>
                  </a:lnTo>
                  <a:lnTo>
                    <a:pt x="115" y="8"/>
                  </a:lnTo>
                  <a:lnTo>
                    <a:pt x="112" y="10"/>
                  </a:lnTo>
                  <a:lnTo>
                    <a:pt x="113" y="16"/>
                  </a:lnTo>
                  <a:lnTo>
                    <a:pt x="113" y="21"/>
                  </a:lnTo>
                  <a:lnTo>
                    <a:pt x="110" y="23"/>
                  </a:lnTo>
                  <a:lnTo>
                    <a:pt x="109" y="24"/>
                  </a:lnTo>
                  <a:lnTo>
                    <a:pt x="108" y="25"/>
                  </a:lnTo>
                  <a:lnTo>
                    <a:pt x="111" y="27"/>
                  </a:lnTo>
                  <a:lnTo>
                    <a:pt x="113" y="28"/>
                  </a:lnTo>
                  <a:lnTo>
                    <a:pt x="114" y="29"/>
                  </a:lnTo>
                  <a:lnTo>
                    <a:pt x="114" y="30"/>
                  </a:lnTo>
                  <a:lnTo>
                    <a:pt x="114" y="31"/>
                  </a:lnTo>
                  <a:lnTo>
                    <a:pt x="112" y="34"/>
                  </a:lnTo>
                  <a:lnTo>
                    <a:pt x="110" y="35"/>
                  </a:lnTo>
                  <a:lnTo>
                    <a:pt x="110" y="39"/>
                  </a:lnTo>
                  <a:lnTo>
                    <a:pt x="110" y="43"/>
                  </a:lnTo>
                  <a:lnTo>
                    <a:pt x="96" y="62"/>
                  </a:lnTo>
                  <a:lnTo>
                    <a:pt x="92" y="62"/>
                  </a:lnTo>
                  <a:lnTo>
                    <a:pt x="92" y="63"/>
                  </a:lnTo>
                  <a:lnTo>
                    <a:pt x="91" y="65"/>
                  </a:lnTo>
                  <a:lnTo>
                    <a:pt x="91" y="67"/>
                  </a:lnTo>
                  <a:lnTo>
                    <a:pt x="91" y="70"/>
                  </a:lnTo>
                  <a:lnTo>
                    <a:pt x="90" y="71"/>
                  </a:lnTo>
                  <a:lnTo>
                    <a:pt x="89" y="71"/>
                  </a:lnTo>
                  <a:lnTo>
                    <a:pt x="89" y="73"/>
                  </a:lnTo>
                  <a:lnTo>
                    <a:pt x="86" y="74"/>
                  </a:lnTo>
                  <a:lnTo>
                    <a:pt x="84" y="74"/>
                  </a:lnTo>
                  <a:lnTo>
                    <a:pt x="81" y="74"/>
                  </a:lnTo>
                  <a:lnTo>
                    <a:pt x="79" y="75"/>
                  </a:lnTo>
                  <a:lnTo>
                    <a:pt x="79" y="79"/>
                  </a:lnTo>
                  <a:lnTo>
                    <a:pt x="71" y="79"/>
                  </a:lnTo>
                  <a:lnTo>
                    <a:pt x="71" y="77"/>
                  </a:lnTo>
                  <a:lnTo>
                    <a:pt x="71" y="75"/>
                  </a:lnTo>
                  <a:lnTo>
                    <a:pt x="71" y="73"/>
                  </a:lnTo>
                  <a:lnTo>
                    <a:pt x="71" y="71"/>
                  </a:lnTo>
                  <a:lnTo>
                    <a:pt x="74" y="69"/>
                  </a:lnTo>
                  <a:lnTo>
                    <a:pt x="76" y="67"/>
                  </a:lnTo>
                  <a:lnTo>
                    <a:pt x="77" y="66"/>
                  </a:lnTo>
                  <a:lnTo>
                    <a:pt x="72" y="68"/>
                  </a:lnTo>
                  <a:lnTo>
                    <a:pt x="69" y="69"/>
                  </a:lnTo>
                  <a:lnTo>
                    <a:pt x="67" y="71"/>
                  </a:lnTo>
                  <a:lnTo>
                    <a:pt x="67" y="74"/>
                  </a:lnTo>
                  <a:lnTo>
                    <a:pt x="67" y="76"/>
                  </a:lnTo>
                  <a:lnTo>
                    <a:pt x="67" y="79"/>
                  </a:lnTo>
                  <a:lnTo>
                    <a:pt x="67" y="81"/>
                  </a:lnTo>
                  <a:lnTo>
                    <a:pt x="66" y="83"/>
                  </a:lnTo>
                  <a:lnTo>
                    <a:pt x="64" y="86"/>
                  </a:lnTo>
                  <a:lnTo>
                    <a:pt x="61" y="88"/>
                  </a:lnTo>
                  <a:lnTo>
                    <a:pt x="60" y="91"/>
                  </a:lnTo>
                  <a:lnTo>
                    <a:pt x="59" y="92"/>
                  </a:lnTo>
                  <a:lnTo>
                    <a:pt x="59" y="93"/>
                  </a:lnTo>
                  <a:lnTo>
                    <a:pt x="60" y="94"/>
                  </a:lnTo>
                  <a:lnTo>
                    <a:pt x="61" y="96"/>
                  </a:lnTo>
                  <a:lnTo>
                    <a:pt x="62" y="97"/>
                  </a:lnTo>
                  <a:lnTo>
                    <a:pt x="62" y="98"/>
                  </a:lnTo>
                  <a:lnTo>
                    <a:pt x="61" y="99"/>
                  </a:lnTo>
                  <a:lnTo>
                    <a:pt x="60" y="100"/>
                  </a:lnTo>
                  <a:lnTo>
                    <a:pt x="59" y="102"/>
                  </a:lnTo>
                  <a:lnTo>
                    <a:pt x="58" y="103"/>
                  </a:lnTo>
                  <a:lnTo>
                    <a:pt x="58" y="104"/>
                  </a:lnTo>
                  <a:lnTo>
                    <a:pt x="51" y="101"/>
                  </a:lnTo>
                  <a:lnTo>
                    <a:pt x="48" y="100"/>
                  </a:lnTo>
                  <a:lnTo>
                    <a:pt x="46" y="100"/>
                  </a:lnTo>
                  <a:lnTo>
                    <a:pt x="43" y="100"/>
                  </a:lnTo>
                  <a:lnTo>
                    <a:pt x="41" y="101"/>
                  </a:lnTo>
                  <a:lnTo>
                    <a:pt x="33" y="104"/>
                  </a:lnTo>
                  <a:lnTo>
                    <a:pt x="33" y="102"/>
                  </a:lnTo>
                  <a:lnTo>
                    <a:pt x="33" y="101"/>
                  </a:lnTo>
                  <a:lnTo>
                    <a:pt x="33" y="100"/>
                  </a:lnTo>
                  <a:lnTo>
                    <a:pt x="31" y="100"/>
                  </a:lnTo>
                  <a:lnTo>
                    <a:pt x="28" y="101"/>
                  </a:lnTo>
                  <a:lnTo>
                    <a:pt x="25" y="104"/>
                  </a:lnTo>
                  <a:lnTo>
                    <a:pt x="22" y="106"/>
                  </a:lnTo>
                  <a:lnTo>
                    <a:pt x="19" y="109"/>
                  </a:lnTo>
                  <a:lnTo>
                    <a:pt x="14" y="115"/>
                  </a:lnTo>
                  <a:lnTo>
                    <a:pt x="11" y="117"/>
                  </a:lnTo>
                  <a:lnTo>
                    <a:pt x="8" y="119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3" y="119"/>
                  </a:lnTo>
                  <a:lnTo>
                    <a:pt x="0" y="117"/>
                  </a:lnTo>
                  <a:lnTo>
                    <a:pt x="0" y="125"/>
                  </a:lnTo>
                  <a:lnTo>
                    <a:pt x="7" y="125"/>
                  </a:lnTo>
                  <a:lnTo>
                    <a:pt x="17" y="125"/>
                  </a:lnTo>
                  <a:lnTo>
                    <a:pt x="18" y="122"/>
                  </a:lnTo>
                  <a:lnTo>
                    <a:pt x="18" y="120"/>
                  </a:lnTo>
                  <a:lnTo>
                    <a:pt x="19" y="119"/>
                  </a:lnTo>
                  <a:lnTo>
                    <a:pt x="28" y="119"/>
                  </a:lnTo>
                  <a:lnTo>
                    <a:pt x="41" y="117"/>
                  </a:lnTo>
                  <a:lnTo>
                    <a:pt x="52" y="117"/>
                  </a:lnTo>
                  <a:lnTo>
                    <a:pt x="51" y="119"/>
                  </a:lnTo>
                  <a:lnTo>
                    <a:pt x="51" y="120"/>
                  </a:lnTo>
                  <a:lnTo>
                    <a:pt x="48" y="121"/>
                  </a:lnTo>
                  <a:lnTo>
                    <a:pt x="48" y="125"/>
                  </a:lnTo>
                  <a:lnTo>
                    <a:pt x="48" y="129"/>
                  </a:lnTo>
                  <a:lnTo>
                    <a:pt x="50" y="130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2" y="135"/>
                  </a:lnTo>
                  <a:lnTo>
                    <a:pt x="54" y="134"/>
                  </a:lnTo>
                  <a:lnTo>
                    <a:pt x="56" y="135"/>
                  </a:lnTo>
                  <a:lnTo>
                    <a:pt x="58" y="135"/>
                  </a:lnTo>
                  <a:lnTo>
                    <a:pt x="60" y="135"/>
                  </a:lnTo>
                  <a:lnTo>
                    <a:pt x="61" y="133"/>
                  </a:lnTo>
                  <a:lnTo>
                    <a:pt x="62" y="131"/>
                  </a:lnTo>
                  <a:lnTo>
                    <a:pt x="63" y="129"/>
                  </a:lnTo>
                  <a:lnTo>
                    <a:pt x="64" y="127"/>
                  </a:lnTo>
                  <a:lnTo>
                    <a:pt x="65" y="126"/>
                  </a:lnTo>
                  <a:lnTo>
                    <a:pt x="67" y="125"/>
                  </a:lnTo>
                  <a:lnTo>
                    <a:pt x="69" y="124"/>
                  </a:lnTo>
                  <a:lnTo>
                    <a:pt x="71" y="123"/>
                  </a:lnTo>
                  <a:lnTo>
                    <a:pt x="70" y="119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75" y="116"/>
                  </a:lnTo>
                  <a:lnTo>
                    <a:pt x="78" y="117"/>
                  </a:lnTo>
                  <a:lnTo>
                    <a:pt x="79" y="117"/>
                  </a:lnTo>
                  <a:lnTo>
                    <a:pt x="77" y="118"/>
                  </a:lnTo>
                  <a:lnTo>
                    <a:pt x="77" y="120"/>
                  </a:lnTo>
                  <a:lnTo>
                    <a:pt x="77" y="121"/>
                  </a:lnTo>
                  <a:lnTo>
                    <a:pt x="78" y="121"/>
                  </a:lnTo>
                  <a:lnTo>
                    <a:pt x="79" y="119"/>
                  </a:lnTo>
                  <a:lnTo>
                    <a:pt x="80" y="118"/>
                  </a:lnTo>
                  <a:lnTo>
                    <a:pt x="81" y="117"/>
                  </a:lnTo>
                  <a:lnTo>
                    <a:pt x="83" y="117"/>
                  </a:lnTo>
                  <a:lnTo>
                    <a:pt x="85" y="118"/>
                  </a:lnTo>
                  <a:lnTo>
                    <a:pt x="90" y="119"/>
                  </a:lnTo>
                  <a:lnTo>
                    <a:pt x="93" y="115"/>
                  </a:lnTo>
                  <a:lnTo>
                    <a:pt x="96" y="112"/>
                  </a:lnTo>
                  <a:lnTo>
                    <a:pt x="98" y="115"/>
                  </a:lnTo>
                  <a:lnTo>
                    <a:pt x="99" y="118"/>
                  </a:lnTo>
                  <a:lnTo>
                    <a:pt x="99" y="119"/>
                  </a:lnTo>
                  <a:lnTo>
                    <a:pt x="98" y="119"/>
                  </a:lnTo>
                  <a:lnTo>
                    <a:pt x="102" y="119"/>
                  </a:lnTo>
                  <a:lnTo>
                    <a:pt x="102" y="117"/>
                  </a:lnTo>
                  <a:lnTo>
                    <a:pt x="103" y="115"/>
                  </a:lnTo>
                  <a:lnTo>
                    <a:pt x="103" y="112"/>
                  </a:lnTo>
                  <a:lnTo>
                    <a:pt x="104" y="110"/>
                  </a:lnTo>
                  <a:lnTo>
                    <a:pt x="110" y="110"/>
                  </a:lnTo>
                  <a:lnTo>
                    <a:pt x="110" y="106"/>
                  </a:lnTo>
                  <a:lnTo>
                    <a:pt x="110" y="103"/>
                  </a:lnTo>
                  <a:lnTo>
                    <a:pt x="110" y="101"/>
                  </a:lnTo>
                  <a:lnTo>
                    <a:pt x="111" y="99"/>
                  </a:lnTo>
                  <a:lnTo>
                    <a:pt x="112" y="98"/>
                  </a:lnTo>
                  <a:lnTo>
                    <a:pt x="113" y="98"/>
                  </a:lnTo>
                  <a:lnTo>
                    <a:pt x="114" y="98"/>
                  </a:lnTo>
                  <a:lnTo>
                    <a:pt x="115" y="100"/>
                  </a:lnTo>
                  <a:lnTo>
                    <a:pt x="114" y="102"/>
                  </a:lnTo>
                  <a:lnTo>
                    <a:pt x="112" y="107"/>
                  </a:lnTo>
                  <a:lnTo>
                    <a:pt x="111" y="109"/>
                  </a:lnTo>
                  <a:lnTo>
                    <a:pt x="111" y="112"/>
                  </a:lnTo>
                  <a:lnTo>
                    <a:pt x="112" y="113"/>
                  </a:lnTo>
                  <a:lnTo>
                    <a:pt x="113" y="114"/>
                  </a:lnTo>
                  <a:lnTo>
                    <a:pt x="119" y="108"/>
                  </a:lnTo>
                  <a:lnTo>
                    <a:pt x="122" y="103"/>
                  </a:lnTo>
                  <a:lnTo>
                    <a:pt x="122" y="100"/>
                  </a:lnTo>
                  <a:lnTo>
                    <a:pt x="122" y="98"/>
                  </a:lnTo>
                  <a:lnTo>
                    <a:pt x="121" y="97"/>
                  </a:lnTo>
                  <a:lnTo>
                    <a:pt x="117" y="94"/>
                  </a:lnTo>
                  <a:lnTo>
                    <a:pt x="119" y="93"/>
                  </a:lnTo>
                  <a:lnTo>
                    <a:pt x="120" y="92"/>
                  </a:lnTo>
                  <a:lnTo>
                    <a:pt x="120" y="90"/>
                  </a:lnTo>
                  <a:lnTo>
                    <a:pt x="119" y="86"/>
                  </a:lnTo>
                  <a:lnTo>
                    <a:pt x="119" y="81"/>
                  </a:lnTo>
                  <a:lnTo>
                    <a:pt x="123" y="75"/>
                  </a:lnTo>
                  <a:lnTo>
                    <a:pt x="123" y="72"/>
                  </a:lnTo>
                  <a:lnTo>
                    <a:pt x="123" y="69"/>
                  </a:lnTo>
                  <a:lnTo>
                    <a:pt x="123" y="64"/>
                  </a:lnTo>
                  <a:lnTo>
                    <a:pt x="122" y="58"/>
                  </a:lnTo>
                  <a:lnTo>
                    <a:pt x="123" y="52"/>
                  </a:lnTo>
                  <a:lnTo>
                    <a:pt x="124" y="51"/>
                  </a:lnTo>
                  <a:lnTo>
                    <a:pt x="124" y="50"/>
                  </a:lnTo>
                  <a:lnTo>
                    <a:pt x="126" y="50"/>
                  </a:lnTo>
                  <a:lnTo>
                    <a:pt x="129" y="49"/>
                  </a:lnTo>
                  <a:lnTo>
                    <a:pt x="131" y="48"/>
                  </a:lnTo>
                  <a:lnTo>
                    <a:pt x="131" y="47"/>
                  </a:lnTo>
                  <a:lnTo>
                    <a:pt x="130" y="45"/>
                  </a:lnTo>
                  <a:lnTo>
                    <a:pt x="129" y="44"/>
                  </a:lnTo>
                  <a:lnTo>
                    <a:pt x="129" y="43"/>
                  </a:lnTo>
                  <a:lnTo>
                    <a:pt x="133" y="43"/>
                  </a:lnTo>
                  <a:lnTo>
                    <a:pt x="134" y="38"/>
                  </a:lnTo>
                  <a:lnTo>
                    <a:pt x="135" y="34"/>
                  </a:lnTo>
                  <a:lnTo>
                    <a:pt x="135" y="30"/>
                  </a:lnTo>
                  <a:lnTo>
                    <a:pt x="135" y="27"/>
                  </a:lnTo>
                  <a:lnTo>
                    <a:pt x="134" y="20"/>
                  </a:lnTo>
                  <a:lnTo>
                    <a:pt x="131" y="12"/>
                  </a:lnTo>
                  <a:lnTo>
                    <a:pt x="130" y="8"/>
                  </a:lnTo>
                  <a:lnTo>
                    <a:pt x="129" y="4"/>
                  </a:lnTo>
                  <a:lnTo>
                    <a:pt x="11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1" name="Freeform 12"/>
            <p:cNvSpPr>
              <a:spLocks/>
            </p:cNvSpPr>
            <p:nvPr/>
          </p:nvSpPr>
          <p:spPr bwMode="auto">
            <a:xfrm>
              <a:off x="4357" y="1871"/>
              <a:ext cx="30" cy="50"/>
            </a:xfrm>
            <a:custGeom>
              <a:avLst/>
              <a:gdLst>
                <a:gd name="T0" fmla="*/ 8 w 30"/>
                <a:gd name="T1" fmla="*/ 8 h 50"/>
                <a:gd name="T2" fmla="*/ 4 w 30"/>
                <a:gd name="T3" fmla="*/ 8 h 50"/>
                <a:gd name="T4" fmla="*/ 2 w 30"/>
                <a:gd name="T5" fmla="*/ 8 h 50"/>
                <a:gd name="T6" fmla="*/ 0 w 30"/>
                <a:gd name="T7" fmla="*/ 11 h 50"/>
                <a:gd name="T8" fmla="*/ 2 w 30"/>
                <a:gd name="T9" fmla="*/ 14 h 50"/>
                <a:gd name="T10" fmla="*/ 6 w 30"/>
                <a:gd name="T11" fmla="*/ 21 h 50"/>
                <a:gd name="T12" fmla="*/ 3 w 30"/>
                <a:gd name="T13" fmla="*/ 20 h 50"/>
                <a:gd name="T14" fmla="*/ 2 w 30"/>
                <a:gd name="T15" fmla="*/ 22 h 50"/>
                <a:gd name="T16" fmla="*/ 5 w 30"/>
                <a:gd name="T17" fmla="*/ 26 h 50"/>
                <a:gd name="T18" fmla="*/ 7 w 30"/>
                <a:gd name="T19" fmla="*/ 27 h 50"/>
                <a:gd name="T20" fmla="*/ 10 w 30"/>
                <a:gd name="T21" fmla="*/ 26 h 50"/>
                <a:gd name="T22" fmla="*/ 12 w 30"/>
                <a:gd name="T23" fmla="*/ 19 h 50"/>
                <a:gd name="T24" fmla="*/ 11 w 30"/>
                <a:gd name="T25" fmla="*/ 18 h 50"/>
                <a:gd name="T26" fmla="*/ 14 w 30"/>
                <a:gd name="T27" fmla="*/ 17 h 50"/>
                <a:gd name="T28" fmla="*/ 15 w 30"/>
                <a:gd name="T29" fmla="*/ 22 h 50"/>
                <a:gd name="T30" fmla="*/ 12 w 30"/>
                <a:gd name="T31" fmla="*/ 29 h 50"/>
                <a:gd name="T32" fmla="*/ 10 w 30"/>
                <a:gd name="T33" fmla="*/ 34 h 50"/>
                <a:gd name="T34" fmla="*/ 8 w 30"/>
                <a:gd name="T35" fmla="*/ 38 h 50"/>
                <a:gd name="T36" fmla="*/ 11 w 30"/>
                <a:gd name="T37" fmla="*/ 44 h 50"/>
                <a:gd name="T38" fmla="*/ 13 w 30"/>
                <a:gd name="T39" fmla="*/ 44 h 50"/>
                <a:gd name="T40" fmla="*/ 14 w 30"/>
                <a:gd name="T41" fmla="*/ 45 h 50"/>
                <a:gd name="T42" fmla="*/ 12 w 30"/>
                <a:gd name="T43" fmla="*/ 47 h 50"/>
                <a:gd name="T44" fmla="*/ 14 w 30"/>
                <a:gd name="T45" fmla="*/ 49 h 50"/>
                <a:gd name="T46" fmla="*/ 20 w 30"/>
                <a:gd name="T47" fmla="*/ 44 h 50"/>
                <a:gd name="T48" fmla="*/ 24 w 30"/>
                <a:gd name="T49" fmla="*/ 39 h 50"/>
                <a:gd name="T50" fmla="*/ 25 w 30"/>
                <a:gd name="T51" fmla="*/ 31 h 50"/>
                <a:gd name="T52" fmla="*/ 26 w 30"/>
                <a:gd name="T53" fmla="*/ 23 h 50"/>
                <a:gd name="T54" fmla="*/ 30 w 30"/>
                <a:gd name="T55" fmla="*/ 19 h 50"/>
                <a:gd name="T56" fmla="*/ 28 w 30"/>
                <a:gd name="T57" fmla="*/ 16 h 50"/>
                <a:gd name="T58" fmla="*/ 24 w 30"/>
                <a:gd name="T59" fmla="*/ 14 h 50"/>
                <a:gd name="T60" fmla="*/ 26 w 30"/>
                <a:gd name="T61" fmla="*/ 10 h 50"/>
                <a:gd name="T62" fmla="*/ 26 w 30"/>
                <a:gd name="T63" fmla="*/ 6 h 50"/>
                <a:gd name="T64" fmla="*/ 19 w 30"/>
                <a:gd name="T65" fmla="*/ 5 h 50"/>
                <a:gd name="T66" fmla="*/ 18 w 30"/>
                <a:gd name="T67" fmla="*/ 2 h 50"/>
                <a:gd name="T68" fmla="*/ 16 w 30"/>
                <a:gd name="T69" fmla="*/ 0 h 50"/>
                <a:gd name="T70" fmla="*/ 12 w 30"/>
                <a:gd name="T71" fmla="*/ 0 h 5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"/>
                <a:gd name="T109" fmla="*/ 0 h 50"/>
                <a:gd name="T110" fmla="*/ 30 w 30"/>
                <a:gd name="T111" fmla="*/ 50 h 5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" h="50">
                  <a:moveTo>
                    <a:pt x="12" y="0"/>
                  </a:moveTo>
                  <a:lnTo>
                    <a:pt x="8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3" y="16"/>
                  </a:lnTo>
                  <a:lnTo>
                    <a:pt x="6" y="21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4" y="25"/>
                  </a:lnTo>
                  <a:lnTo>
                    <a:pt x="5" y="26"/>
                  </a:lnTo>
                  <a:lnTo>
                    <a:pt x="6" y="27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10" y="26"/>
                  </a:lnTo>
                  <a:lnTo>
                    <a:pt x="12" y="27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4" y="21"/>
                  </a:lnTo>
                  <a:lnTo>
                    <a:pt x="15" y="22"/>
                  </a:lnTo>
                  <a:lnTo>
                    <a:pt x="16" y="23"/>
                  </a:lnTo>
                  <a:lnTo>
                    <a:pt x="12" y="29"/>
                  </a:lnTo>
                  <a:lnTo>
                    <a:pt x="10" y="31"/>
                  </a:lnTo>
                  <a:lnTo>
                    <a:pt x="10" y="34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8" y="46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4" y="44"/>
                  </a:lnTo>
                  <a:lnTo>
                    <a:pt x="14" y="45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3" y="48"/>
                  </a:lnTo>
                  <a:lnTo>
                    <a:pt x="14" y="49"/>
                  </a:lnTo>
                  <a:lnTo>
                    <a:pt x="16" y="50"/>
                  </a:lnTo>
                  <a:lnTo>
                    <a:pt x="20" y="44"/>
                  </a:lnTo>
                  <a:lnTo>
                    <a:pt x="23" y="41"/>
                  </a:lnTo>
                  <a:lnTo>
                    <a:pt x="24" y="39"/>
                  </a:lnTo>
                  <a:lnTo>
                    <a:pt x="25" y="34"/>
                  </a:lnTo>
                  <a:lnTo>
                    <a:pt x="25" y="31"/>
                  </a:lnTo>
                  <a:lnTo>
                    <a:pt x="25" y="27"/>
                  </a:lnTo>
                  <a:lnTo>
                    <a:pt x="26" y="23"/>
                  </a:lnTo>
                  <a:lnTo>
                    <a:pt x="30" y="21"/>
                  </a:lnTo>
                  <a:lnTo>
                    <a:pt x="30" y="19"/>
                  </a:lnTo>
                  <a:lnTo>
                    <a:pt x="29" y="17"/>
                  </a:lnTo>
                  <a:lnTo>
                    <a:pt x="28" y="16"/>
                  </a:lnTo>
                  <a:lnTo>
                    <a:pt x="28" y="14"/>
                  </a:lnTo>
                  <a:lnTo>
                    <a:pt x="24" y="14"/>
                  </a:lnTo>
                  <a:lnTo>
                    <a:pt x="25" y="12"/>
                  </a:lnTo>
                  <a:lnTo>
                    <a:pt x="26" y="10"/>
                  </a:lnTo>
                  <a:lnTo>
                    <a:pt x="26" y="9"/>
                  </a:lnTo>
                  <a:lnTo>
                    <a:pt x="26" y="6"/>
                  </a:lnTo>
                  <a:lnTo>
                    <a:pt x="20" y="6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18" y="2"/>
                  </a:lnTo>
                  <a:lnTo>
                    <a:pt x="17" y="1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4238" y="2015"/>
              <a:ext cx="21" cy="50"/>
            </a:xfrm>
            <a:custGeom>
              <a:avLst/>
              <a:gdLst>
                <a:gd name="T0" fmla="*/ 15 w 21"/>
                <a:gd name="T1" fmla="*/ 0 h 50"/>
                <a:gd name="T2" fmla="*/ 8 w 21"/>
                <a:gd name="T3" fmla="*/ 13 h 50"/>
                <a:gd name="T4" fmla="*/ 4 w 21"/>
                <a:gd name="T5" fmla="*/ 20 h 50"/>
                <a:gd name="T6" fmla="*/ 3 w 21"/>
                <a:gd name="T7" fmla="*/ 23 h 50"/>
                <a:gd name="T8" fmla="*/ 2 w 21"/>
                <a:gd name="T9" fmla="*/ 27 h 50"/>
                <a:gd name="T10" fmla="*/ 0 w 21"/>
                <a:gd name="T11" fmla="*/ 35 h 50"/>
                <a:gd name="T12" fmla="*/ 0 w 21"/>
                <a:gd name="T13" fmla="*/ 38 h 50"/>
                <a:gd name="T14" fmla="*/ 1 w 21"/>
                <a:gd name="T15" fmla="*/ 40 h 50"/>
                <a:gd name="T16" fmla="*/ 3 w 21"/>
                <a:gd name="T17" fmla="*/ 44 h 50"/>
                <a:gd name="T18" fmla="*/ 6 w 21"/>
                <a:gd name="T19" fmla="*/ 50 h 50"/>
                <a:gd name="T20" fmla="*/ 10 w 21"/>
                <a:gd name="T21" fmla="*/ 50 h 50"/>
                <a:gd name="T22" fmla="*/ 14 w 21"/>
                <a:gd name="T23" fmla="*/ 38 h 50"/>
                <a:gd name="T24" fmla="*/ 18 w 21"/>
                <a:gd name="T25" fmla="*/ 25 h 50"/>
                <a:gd name="T26" fmla="*/ 20 w 21"/>
                <a:gd name="T27" fmla="*/ 12 h 50"/>
                <a:gd name="T28" fmla="*/ 21 w 21"/>
                <a:gd name="T29" fmla="*/ 6 h 50"/>
                <a:gd name="T30" fmla="*/ 21 w 21"/>
                <a:gd name="T31" fmla="*/ 0 h 50"/>
                <a:gd name="T32" fmla="*/ 15 w 21"/>
                <a:gd name="T33" fmla="*/ 0 h 5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1"/>
                <a:gd name="T52" fmla="*/ 0 h 50"/>
                <a:gd name="T53" fmla="*/ 21 w 21"/>
                <a:gd name="T54" fmla="*/ 50 h 5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1" h="50">
                  <a:moveTo>
                    <a:pt x="15" y="0"/>
                  </a:moveTo>
                  <a:lnTo>
                    <a:pt x="8" y="13"/>
                  </a:lnTo>
                  <a:lnTo>
                    <a:pt x="4" y="20"/>
                  </a:lnTo>
                  <a:lnTo>
                    <a:pt x="3" y="23"/>
                  </a:lnTo>
                  <a:lnTo>
                    <a:pt x="2" y="27"/>
                  </a:lnTo>
                  <a:lnTo>
                    <a:pt x="0" y="35"/>
                  </a:lnTo>
                  <a:lnTo>
                    <a:pt x="0" y="38"/>
                  </a:lnTo>
                  <a:lnTo>
                    <a:pt x="1" y="40"/>
                  </a:lnTo>
                  <a:lnTo>
                    <a:pt x="3" y="44"/>
                  </a:lnTo>
                  <a:lnTo>
                    <a:pt x="6" y="50"/>
                  </a:lnTo>
                  <a:lnTo>
                    <a:pt x="10" y="50"/>
                  </a:lnTo>
                  <a:lnTo>
                    <a:pt x="14" y="38"/>
                  </a:lnTo>
                  <a:lnTo>
                    <a:pt x="18" y="25"/>
                  </a:lnTo>
                  <a:lnTo>
                    <a:pt x="20" y="12"/>
                  </a:lnTo>
                  <a:lnTo>
                    <a:pt x="21" y="6"/>
                  </a:lnTo>
                  <a:lnTo>
                    <a:pt x="21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690" y="2044"/>
              <a:ext cx="124" cy="56"/>
            </a:xfrm>
            <a:custGeom>
              <a:avLst/>
              <a:gdLst>
                <a:gd name="T0" fmla="*/ 17 w 124"/>
                <a:gd name="T1" fmla="*/ 1 h 56"/>
                <a:gd name="T2" fmla="*/ 11 w 124"/>
                <a:gd name="T3" fmla="*/ 3 h 56"/>
                <a:gd name="T4" fmla="*/ 6 w 124"/>
                <a:gd name="T5" fmla="*/ 9 h 56"/>
                <a:gd name="T6" fmla="*/ 0 w 124"/>
                <a:gd name="T7" fmla="*/ 21 h 56"/>
                <a:gd name="T8" fmla="*/ 4 w 124"/>
                <a:gd name="T9" fmla="*/ 20 h 56"/>
                <a:gd name="T10" fmla="*/ 9 w 124"/>
                <a:gd name="T11" fmla="*/ 19 h 56"/>
                <a:gd name="T12" fmla="*/ 13 w 124"/>
                <a:gd name="T13" fmla="*/ 13 h 56"/>
                <a:gd name="T14" fmla="*/ 21 w 124"/>
                <a:gd name="T15" fmla="*/ 6 h 56"/>
                <a:gd name="T16" fmla="*/ 27 w 124"/>
                <a:gd name="T17" fmla="*/ 6 h 56"/>
                <a:gd name="T18" fmla="*/ 32 w 124"/>
                <a:gd name="T19" fmla="*/ 8 h 56"/>
                <a:gd name="T20" fmla="*/ 35 w 124"/>
                <a:gd name="T21" fmla="*/ 12 h 56"/>
                <a:gd name="T22" fmla="*/ 40 w 124"/>
                <a:gd name="T23" fmla="*/ 13 h 56"/>
                <a:gd name="T24" fmla="*/ 44 w 124"/>
                <a:gd name="T25" fmla="*/ 13 h 56"/>
                <a:gd name="T26" fmla="*/ 47 w 124"/>
                <a:gd name="T27" fmla="*/ 17 h 56"/>
                <a:gd name="T28" fmla="*/ 50 w 124"/>
                <a:gd name="T29" fmla="*/ 17 h 56"/>
                <a:gd name="T30" fmla="*/ 55 w 124"/>
                <a:gd name="T31" fmla="*/ 22 h 56"/>
                <a:gd name="T32" fmla="*/ 58 w 124"/>
                <a:gd name="T33" fmla="*/ 26 h 56"/>
                <a:gd name="T34" fmla="*/ 62 w 124"/>
                <a:gd name="T35" fmla="*/ 27 h 56"/>
                <a:gd name="T36" fmla="*/ 70 w 124"/>
                <a:gd name="T37" fmla="*/ 26 h 56"/>
                <a:gd name="T38" fmla="*/ 73 w 124"/>
                <a:gd name="T39" fmla="*/ 27 h 56"/>
                <a:gd name="T40" fmla="*/ 73 w 124"/>
                <a:gd name="T41" fmla="*/ 29 h 56"/>
                <a:gd name="T42" fmla="*/ 74 w 124"/>
                <a:gd name="T43" fmla="*/ 35 h 56"/>
                <a:gd name="T44" fmla="*/ 77 w 124"/>
                <a:gd name="T45" fmla="*/ 38 h 56"/>
                <a:gd name="T46" fmla="*/ 85 w 124"/>
                <a:gd name="T47" fmla="*/ 42 h 56"/>
                <a:gd name="T48" fmla="*/ 84 w 124"/>
                <a:gd name="T49" fmla="*/ 56 h 56"/>
                <a:gd name="T50" fmla="*/ 124 w 124"/>
                <a:gd name="T51" fmla="*/ 50 h 56"/>
                <a:gd name="T52" fmla="*/ 116 w 124"/>
                <a:gd name="T53" fmla="*/ 43 h 56"/>
                <a:gd name="T54" fmla="*/ 109 w 124"/>
                <a:gd name="T55" fmla="*/ 42 h 56"/>
                <a:gd name="T56" fmla="*/ 104 w 124"/>
                <a:gd name="T57" fmla="*/ 32 h 56"/>
                <a:gd name="T58" fmla="*/ 96 w 124"/>
                <a:gd name="T59" fmla="*/ 33 h 56"/>
                <a:gd name="T60" fmla="*/ 95 w 124"/>
                <a:gd name="T61" fmla="*/ 29 h 56"/>
                <a:gd name="T62" fmla="*/ 94 w 124"/>
                <a:gd name="T63" fmla="*/ 27 h 56"/>
                <a:gd name="T64" fmla="*/ 83 w 124"/>
                <a:gd name="T65" fmla="*/ 20 h 56"/>
                <a:gd name="T66" fmla="*/ 71 w 124"/>
                <a:gd name="T67" fmla="*/ 15 h 56"/>
                <a:gd name="T68" fmla="*/ 68 w 124"/>
                <a:gd name="T69" fmla="*/ 15 h 56"/>
                <a:gd name="T70" fmla="*/ 65 w 124"/>
                <a:gd name="T71" fmla="*/ 15 h 56"/>
                <a:gd name="T72" fmla="*/ 63 w 124"/>
                <a:gd name="T73" fmla="*/ 13 h 56"/>
                <a:gd name="T74" fmla="*/ 61 w 124"/>
                <a:gd name="T75" fmla="*/ 8 h 56"/>
                <a:gd name="T76" fmla="*/ 51 w 124"/>
                <a:gd name="T77" fmla="*/ 4 h 56"/>
                <a:gd name="T78" fmla="*/ 19 w 124"/>
                <a:gd name="T79" fmla="*/ 0 h 5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24"/>
                <a:gd name="T121" fmla="*/ 0 h 56"/>
                <a:gd name="T122" fmla="*/ 124 w 124"/>
                <a:gd name="T123" fmla="*/ 56 h 5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24" h="56">
                  <a:moveTo>
                    <a:pt x="19" y="0"/>
                  </a:moveTo>
                  <a:lnTo>
                    <a:pt x="17" y="1"/>
                  </a:lnTo>
                  <a:lnTo>
                    <a:pt x="15" y="1"/>
                  </a:lnTo>
                  <a:lnTo>
                    <a:pt x="11" y="3"/>
                  </a:lnTo>
                  <a:lnTo>
                    <a:pt x="8" y="6"/>
                  </a:lnTo>
                  <a:lnTo>
                    <a:pt x="6" y="9"/>
                  </a:lnTo>
                  <a:lnTo>
                    <a:pt x="2" y="15"/>
                  </a:lnTo>
                  <a:lnTo>
                    <a:pt x="0" y="21"/>
                  </a:lnTo>
                  <a:lnTo>
                    <a:pt x="2" y="20"/>
                  </a:lnTo>
                  <a:lnTo>
                    <a:pt x="4" y="20"/>
                  </a:lnTo>
                  <a:lnTo>
                    <a:pt x="7" y="20"/>
                  </a:lnTo>
                  <a:lnTo>
                    <a:pt x="9" y="19"/>
                  </a:lnTo>
                  <a:lnTo>
                    <a:pt x="9" y="15"/>
                  </a:lnTo>
                  <a:lnTo>
                    <a:pt x="13" y="13"/>
                  </a:lnTo>
                  <a:lnTo>
                    <a:pt x="16" y="11"/>
                  </a:lnTo>
                  <a:lnTo>
                    <a:pt x="21" y="6"/>
                  </a:lnTo>
                  <a:lnTo>
                    <a:pt x="24" y="6"/>
                  </a:lnTo>
                  <a:lnTo>
                    <a:pt x="27" y="6"/>
                  </a:lnTo>
                  <a:lnTo>
                    <a:pt x="29" y="7"/>
                  </a:lnTo>
                  <a:lnTo>
                    <a:pt x="32" y="8"/>
                  </a:lnTo>
                  <a:lnTo>
                    <a:pt x="34" y="11"/>
                  </a:lnTo>
                  <a:lnTo>
                    <a:pt x="35" y="12"/>
                  </a:lnTo>
                  <a:lnTo>
                    <a:pt x="36" y="13"/>
                  </a:lnTo>
                  <a:lnTo>
                    <a:pt x="40" y="13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6" y="17"/>
                  </a:lnTo>
                  <a:lnTo>
                    <a:pt x="47" y="17"/>
                  </a:lnTo>
                  <a:lnTo>
                    <a:pt x="49" y="17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5" y="22"/>
                  </a:lnTo>
                  <a:lnTo>
                    <a:pt x="57" y="25"/>
                  </a:lnTo>
                  <a:lnTo>
                    <a:pt x="58" y="26"/>
                  </a:lnTo>
                  <a:lnTo>
                    <a:pt x="59" y="27"/>
                  </a:lnTo>
                  <a:lnTo>
                    <a:pt x="62" y="27"/>
                  </a:lnTo>
                  <a:lnTo>
                    <a:pt x="66" y="26"/>
                  </a:lnTo>
                  <a:lnTo>
                    <a:pt x="70" y="26"/>
                  </a:lnTo>
                  <a:lnTo>
                    <a:pt x="71" y="26"/>
                  </a:lnTo>
                  <a:lnTo>
                    <a:pt x="73" y="27"/>
                  </a:lnTo>
                  <a:lnTo>
                    <a:pt x="73" y="28"/>
                  </a:lnTo>
                  <a:lnTo>
                    <a:pt x="73" y="29"/>
                  </a:lnTo>
                  <a:lnTo>
                    <a:pt x="73" y="33"/>
                  </a:lnTo>
                  <a:lnTo>
                    <a:pt x="74" y="35"/>
                  </a:lnTo>
                  <a:lnTo>
                    <a:pt x="75" y="37"/>
                  </a:lnTo>
                  <a:lnTo>
                    <a:pt x="77" y="38"/>
                  </a:lnTo>
                  <a:lnTo>
                    <a:pt x="80" y="40"/>
                  </a:lnTo>
                  <a:lnTo>
                    <a:pt x="85" y="42"/>
                  </a:lnTo>
                  <a:lnTo>
                    <a:pt x="90" y="44"/>
                  </a:lnTo>
                  <a:lnTo>
                    <a:pt x="84" y="56"/>
                  </a:lnTo>
                  <a:lnTo>
                    <a:pt x="104" y="53"/>
                  </a:lnTo>
                  <a:lnTo>
                    <a:pt x="124" y="50"/>
                  </a:lnTo>
                  <a:lnTo>
                    <a:pt x="122" y="42"/>
                  </a:lnTo>
                  <a:lnTo>
                    <a:pt x="116" y="43"/>
                  </a:lnTo>
                  <a:lnTo>
                    <a:pt x="112" y="43"/>
                  </a:lnTo>
                  <a:lnTo>
                    <a:pt x="109" y="42"/>
                  </a:lnTo>
                  <a:lnTo>
                    <a:pt x="107" y="33"/>
                  </a:lnTo>
                  <a:lnTo>
                    <a:pt x="104" y="32"/>
                  </a:lnTo>
                  <a:lnTo>
                    <a:pt x="101" y="32"/>
                  </a:lnTo>
                  <a:lnTo>
                    <a:pt x="96" y="33"/>
                  </a:lnTo>
                  <a:lnTo>
                    <a:pt x="95" y="31"/>
                  </a:lnTo>
                  <a:lnTo>
                    <a:pt x="95" y="29"/>
                  </a:lnTo>
                  <a:lnTo>
                    <a:pt x="95" y="28"/>
                  </a:lnTo>
                  <a:lnTo>
                    <a:pt x="94" y="27"/>
                  </a:lnTo>
                  <a:lnTo>
                    <a:pt x="89" y="23"/>
                  </a:lnTo>
                  <a:lnTo>
                    <a:pt x="83" y="20"/>
                  </a:lnTo>
                  <a:lnTo>
                    <a:pt x="77" y="17"/>
                  </a:lnTo>
                  <a:lnTo>
                    <a:pt x="71" y="15"/>
                  </a:lnTo>
                  <a:lnTo>
                    <a:pt x="69" y="15"/>
                  </a:lnTo>
                  <a:lnTo>
                    <a:pt x="68" y="15"/>
                  </a:lnTo>
                  <a:lnTo>
                    <a:pt x="66" y="16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3" y="13"/>
                  </a:lnTo>
                  <a:lnTo>
                    <a:pt x="62" y="10"/>
                  </a:lnTo>
                  <a:lnTo>
                    <a:pt x="61" y="8"/>
                  </a:lnTo>
                  <a:lnTo>
                    <a:pt x="59" y="6"/>
                  </a:lnTo>
                  <a:lnTo>
                    <a:pt x="51" y="4"/>
                  </a:lnTo>
                  <a:lnTo>
                    <a:pt x="38" y="2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4096" y="2100"/>
              <a:ext cx="34" cy="31"/>
            </a:xfrm>
            <a:custGeom>
              <a:avLst/>
              <a:gdLst>
                <a:gd name="T0" fmla="*/ 23 w 34"/>
                <a:gd name="T1" fmla="*/ 0 h 31"/>
                <a:gd name="T2" fmla="*/ 21 w 34"/>
                <a:gd name="T3" fmla="*/ 0 h 31"/>
                <a:gd name="T4" fmla="*/ 18 w 34"/>
                <a:gd name="T5" fmla="*/ 1 h 31"/>
                <a:gd name="T6" fmla="*/ 11 w 34"/>
                <a:gd name="T7" fmla="*/ 5 h 31"/>
                <a:gd name="T8" fmla="*/ 0 w 34"/>
                <a:gd name="T9" fmla="*/ 13 h 31"/>
                <a:gd name="T10" fmla="*/ 2 w 34"/>
                <a:gd name="T11" fmla="*/ 20 h 31"/>
                <a:gd name="T12" fmla="*/ 3 w 34"/>
                <a:gd name="T13" fmla="*/ 23 h 31"/>
                <a:gd name="T14" fmla="*/ 4 w 34"/>
                <a:gd name="T15" fmla="*/ 26 h 31"/>
                <a:gd name="T16" fmla="*/ 6 w 34"/>
                <a:gd name="T17" fmla="*/ 28 h 31"/>
                <a:gd name="T18" fmla="*/ 7 w 34"/>
                <a:gd name="T19" fmla="*/ 29 h 31"/>
                <a:gd name="T20" fmla="*/ 9 w 34"/>
                <a:gd name="T21" fmla="*/ 30 h 31"/>
                <a:gd name="T22" fmla="*/ 12 w 34"/>
                <a:gd name="T23" fmla="*/ 31 h 31"/>
                <a:gd name="T24" fmla="*/ 17 w 34"/>
                <a:gd name="T25" fmla="*/ 30 h 31"/>
                <a:gd name="T26" fmla="*/ 20 w 34"/>
                <a:gd name="T27" fmla="*/ 29 h 31"/>
                <a:gd name="T28" fmla="*/ 23 w 34"/>
                <a:gd name="T29" fmla="*/ 27 h 31"/>
                <a:gd name="T30" fmla="*/ 25 w 34"/>
                <a:gd name="T31" fmla="*/ 25 h 31"/>
                <a:gd name="T32" fmla="*/ 26 w 34"/>
                <a:gd name="T33" fmla="*/ 22 h 31"/>
                <a:gd name="T34" fmla="*/ 28 w 34"/>
                <a:gd name="T35" fmla="*/ 18 h 31"/>
                <a:gd name="T36" fmla="*/ 29 w 34"/>
                <a:gd name="T37" fmla="*/ 15 h 31"/>
                <a:gd name="T38" fmla="*/ 31 w 34"/>
                <a:gd name="T39" fmla="*/ 7 h 31"/>
                <a:gd name="T40" fmla="*/ 32 w 34"/>
                <a:gd name="T41" fmla="*/ 8 h 31"/>
                <a:gd name="T42" fmla="*/ 33 w 34"/>
                <a:gd name="T43" fmla="*/ 7 h 31"/>
                <a:gd name="T44" fmla="*/ 34 w 34"/>
                <a:gd name="T45" fmla="*/ 6 h 31"/>
                <a:gd name="T46" fmla="*/ 34 w 34"/>
                <a:gd name="T47" fmla="*/ 4 h 31"/>
                <a:gd name="T48" fmla="*/ 34 w 34"/>
                <a:gd name="T49" fmla="*/ 2 h 31"/>
                <a:gd name="T50" fmla="*/ 32 w 34"/>
                <a:gd name="T51" fmla="*/ 1 h 31"/>
                <a:gd name="T52" fmla="*/ 28 w 34"/>
                <a:gd name="T53" fmla="*/ 0 h 31"/>
                <a:gd name="T54" fmla="*/ 23 w 34"/>
                <a:gd name="T55" fmla="*/ 0 h 3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4"/>
                <a:gd name="T85" fmla="*/ 0 h 31"/>
                <a:gd name="T86" fmla="*/ 34 w 34"/>
                <a:gd name="T87" fmla="*/ 31 h 3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4" h="31">
                  <a:moveTo>
                    <a:pt x="23" y="0"/>
                  </a:moveTo>
                  <a:lnTo>
                    <a:pt x="21" y="0"/>
                  </a:lnTo>
                  <a:lnTo>
                    <a:pt x="18" y="1"/>
                  </a:lnTo>
                  <a:lnTo>
                    <a:pt x="11" y="5"/>
                  </a:lnTo>
                  <a:lnTo>
                    <a:pt x="0" y="13"/>
                  </a:lnTo>
                  <a:lnTo>
                    <a:pt x="2" y="20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9" y="30"/>
                  </a:lnTo>
                  <a:lnTo>
                    <a:pt x="12" y="31"/>
                  </a:lnTo>
                  <a:lnTo>
                    <a:pt x="17" y="30"/>
                  </a:lnTo>
                  <a:lnTo>
                    <a:pt x="20" y="29"/>
                  </a:lnTo>
                  <a:lnTo>
                    <a:pt x="23" y="27"/>
                  </a:lnTo>
                  <a:lnTo>
                    <a:pt x="25" y="25"/>
                  </a:lnTo>
                  <a:lnTo>
                    <a:pt x="26" y="22"/>
                  </a:lnTo>
                  <a:lnTo>
                    <a:pt x="28" y="18"/>
                  </a:lnTo>
                  <a:lnTo>
                    <a:pt x="29" y="15"/>
                  </a:lnTo>
                  <a:lnTo>
                    <a:pt x="31" y="7"/>
                  </a:lnTo>
                  <a:lnTo>
                    <a:pt x="32" y="8"/>
                  </a:lnTo>
                  <a:lnTo>
                    <a:pt x="33" y="7"/>
                  </a:lnTo>
                  <a:lnTo>
                    <a:pt x="34" y="6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763" y="2117"/>
              <a:ext cx="28" cy="14"/>
            </a:xfrm>
            <a:custGeom>
              <a:avLst/>
              <a:gdLst>
                <a:gd name="T0" fmla="*/ 3 w 28"/>
                <a:gd name="T1" fmla="*/ 0 h 14"/>
                <a:gd name="T2" fmla="*/ 0 w 28"/>
                <a:gd name="T3" fmla="*/ 6 h 14"/>
                <a:gd name="T4" fmla="*/ 3 w 28"/>
                <a:gd name="T5" fmla="*/ 7 h 14"/>
                <a:gd name="T6" fmla="*/ 6 w 28"/>
                <a:gd name="T7" fmla="*/ 9 h 14"/>
                <a:gd name="T8" fmla="*/ 13 w 28"/>
                <a:gd name="T9" fmla="*/ 11 h 14"/>
                <a:gd name="T10" fmla="*/ 13 w 28"/>
                <a:gd name="T11" fmla="*/ 13 h 14"/>
                <a:gd name="T12" fmla="*/ 17 w 28"/>
                <a:gd name="T13" fmla="*/ 14 h 14"/>
                <a:gd name="T14" fmla="*/ 20 w 28"/>
                <a:gd name="T15" fmla="*/ 13 h 14"/>
                <a:gd name="T16" fmla="*/ 24 w 28"/>
                <a:gd name="T17" fmla="*/ 11 h 14"/>
                <a:gd name="T18" fmla="*/ 25 w 28"/>
                <a:gd name="T19" fmla="*/ 11 h 14"/>
                <a:gd name="T20" fmla="*/ 26 w 28"/>
                <a:gd name="T21" fmla="*/ 10 h 14"/>
                <a:gd name="T22" fmla="*/ 28 w 28"/>
                <a:gd name="T23" fmla="*/ 8 h 14"/>
                <a:gd name="T24" fmla="*/ 28 w 28"/>
                <a:gd name="T25" fmla="*/ 7 h 14"/>
                <a:gd name="T26" fmla="*/ 27 w 28"/>
                <a:gd name="T27" fmla="*/ 6 h 14"/>
                <a:gd name="T28" fmla="*/ 26 w 28"/>
                <a:gd name="T29" fmla="*/ 6 h 14"/>
                <a:gd name="T30" fmla="*/ 23 w 28"/>
                <a:gd name="T31" fmla="*/ 6 h 14"/>
                <a:gd name="T32" fmla="*/ 23 w 28"/>
                <a:gd name="T33" fmla="*/ 2 h 14"/>
                <a:gd name="T34" fmla="*/ 20 w 28"/>
                <a:gd name="T35" fmla="*/ 1 h 14"/>
                <a:gd name="T36" fmla="*/ 18 w 28"/>
                <a:gd name="T37" fmla="*/ 0 h 14"/>
                <a:gd name="T38" fmla="*/ 13 w 28"/>
                <a:gd name="T39" fmla="*/ 0 h 14"/>
                <a:gd name="T40" fmla="*/ 8 w 28"/>
                <a:gd name="T41" fmla="*/ 0 h 14"/>
                <a:gd name="T42" fmla="*/ 3 w 28"/>
                <a:gd name="T43" fmla="*/ 0 h 1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8"/>
                <a:gd name="T67" fmla="*/ 0 h 14"/>
                <a:gd name="T68" fmla="*/ 28 w 28"/>
                <a:gd name="T69" fmla="*/ 14 h 1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8" h="14">
                  <a:moveTo>
                    <a:pt x="3" y="0"/>
                  </a:moveTo>
                  <a:lnTo>
                    <a:pt x="0" y="6"/>
                  </a:lnTo>
                  <a:lnTo>
                    <a:pt x="3" y="7"/>
                  </a:lnTo>
                  <a:lnTo>
                    <a:pt x="6" y="9"/>
                  </a:lnTo>
                  <a:lnTo>
                    <a:pt x="13" y="11"/>
                  </a:lnTo>
                  <a:lnTo>
                    <a:pt x="13" y="13"/>
                  </a:lnTo>
                  <a:lnTo>
                    <a:pt x="17" y="14"/>
                  </a:lnTo>
                  <a:lnTo>
                    <a:pt x="20" y="13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6" y="10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7" y="6"/>
                  </a:lnTo>
                  <a:lnTo>
                    <a:pt x="26" y="6"/>
                  </a:lnTo>
                  <a:lnTo>
                    <a:pt x="23" y="6"/>
                  </a:lnTo>
                  <a:lnTo>
                    <a:pt x="23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8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4234" y="2121"/>
              <a:ext cx="56" cy="94"/>
            </a:xfrm>
            <a:custGeom>
              <a:avLst/>
              <a:gdLst>
                <a:gd name="T0" fmla="*/ 12 w 56"/>
                <a:gd name="T1" fmla="*/ 8 h 94"/>
                <a:gd name="T2" fmla="*/ 12 w 56"/>
                <a:gd name="T3" fmla="*/ 29 h 94"/>
                <a:gd name="T4" fmla="*/ 8 w 56"/>
                <a:gd name="T5" fmla="*/ 33 h 94"/>
                <a:gd name="T6" fmla="*/ 9 w 56"/>
                <a:gd name="T7" fmla="*/ 36 h 94"/>
                <a:gd name="T8" fmla="*/ 10 w 56"/>
                <a:gd name="T9" fmla="*/ 40 h 94"/>
                <a:gd name="T10" fmla="*/ 5 w 56"/>
                <a:gd name="T11" fmla="*/ 41 h 94"/>
                <a:gd name="T12" fmla="*/ 3 w 56"/>
                <a:gd name="T13" fmla="*/ 39 h 94"/>
                <a:gd name="T14" fmla="*/ 1 w 56"/>
                <a:gd name="T15" fmla="*/ 38 h 94"/>
                <a:gd name="T16" fmla="*/ 1 w 56"/>
                <a:gd name="T17" fmla="*/ 39 h 94"/>
                <a:gd name="T18" fmla="*/ 0 w 56"/>
                <a:gd name="T19" fmla="*/ 43 h 94"/>
                <a:gd name="T20" fmla="*/ 2 w 56"/>
                <a:gd name="T21" fmla="*/ 45 h 94"/>
                <a:gd name="T22" fmla="*/ 6 w 56"/>
                <a:gd name="T23" fmla="*/ 56 h 94"/>
                <a:gd name="T24" fmla="*/ 11 w 56"/>
                <a:gd name="T25" fmla="*/ 62 h 94"/>
                <a:gd name="T26" fmla="*/ 13 w 56"/>
                <a:gd name="T27" fmla="*/ 59 h 94"/>
                <a:gd name="T28" fmla="*/ 14 w 56"/>
                <a:gd name="T29" fmla="*/ 66 h 94"/>
                <a:gd name="T30" fmla="*/ 13 w 56"/>
                <a:gd name="T31" fmla="*/ 71 h 94"/>
                <a:gd name="T32" fmla="*/ 17 w 56"/>
                <a:gd name="T33" fmla="*/ 80 h 94"/>
                <a:gd name="T34" fmla="*/ 27 w 56"/>
                <a:gd name="T35" fmla="*/ 78 h 94"/>
                <a:gd name="T36" fmla="*/ 32 w 56"/>
                <a:gd name="T37" fmla="*/ 79 h 94"/>
                <a:gd name="T38" fmla="*/ 38 w 56"/>
                <a:gd name="T39" fmla="*/ 81 h 94"/>
                <a:gd name="T40" fmla="*/ 37 w 56"/>
                <a:gd name="T41" fmla="*/ 76 h 94"/>
                <a:gd name="T42" fmla="*/ 42 w 56"/>
                <a:gd name="T43" fmla="*/ 80 h 94"/>
                <a:gd name="T44" fmla="*/ 50 w 56"/>
                <a:gd name="T45" fmla="*/ 92 h 94"/>
                <a:gd name="T46" fmla="*/ 54 w 56"/>
                <a:gd name="T47" fmla="*/ 94 h 94"/>
                <a:gd name="T48" fmla="*/ 54 w 56"/>
                <a:gd name="T49" fmla="*/ 89 h 94"/>
                <a:gd name="T50" fmla="*/ 52 w 56"/>
                <a:gd name="T51" fmla="*/ 79 h 94"/>
                <a:gd name="T52" fmla="*/ 50 w 56"/>
                <a:gd name="T53" fmla="*/ 71 h 94"/>
                <a:gd name="T54" fmla="*/ 42 w 56"/>
                <a:gd name="T55" fmla="*/ 67 h 94"/>
                <a:gd name="T56" fmla="*/ 33 w 56"/>
                <a:gd name="T57" fmla="*/ 69 h 94"/>
                <a:gd name="T58" fmla="*/ 25 w 56"/>
                <a:gd name="T59" fmla="*/ 71 h 94"/>
                <a:gd name="T60" fmla="*/ 24 w 56"/>
                <a:gd name="T61" fmla="*/ 63 h 94"/>
                <a:gd name="T62" fmla="*/ 23 w 56"/>
                <a:gd name="T63" fmla="*/ 62 h 94"/>
                <a:gd name="T64" fmla="*/ 22 w 56"/>
                <a:gd name="T65" fmla="*/ 59 h 94"/>
                <a:gd name="T66" fmla="*/ 23 w 56"/>
                <a:gd name="T67" fmla="*/ 54 h 94"/>
                <a:gd name="T68" fmla="*/ 23 w 56"/>
                <a:gd name="T69" fmla="*/ 52 h 94"/>
                <a:gd name="T70" fmla="*/ 22 w 56"/>
                <a:gd name="T71" fmla="*/ 48 h 94"/>
                <a:gd name="T72" fmla="*/ 23 w 56"/>
                <a:gd name="T73" fmla="*/ 46 h 94"/>
                <a:gd name="T74" fmla="*/ 29 w 56"/>
                <a:gd name="T75" fmla="*/ 36 h 94"/>
                <a:gd name="T76" fmla="*/ 37 w 56"/>
                <a:gd name="T77" fmla="*/ 27 h 94"/>
                <a:gd name="T78" fmla="*/ 36 w 56"/>
                <a:gd name="T79" fmla="*/ 24 h 94"/>
                <a:gd name="T80" fmla="*/ 31 w 56"/>
                <a:gd name="T81" fmla="*/ 17 h 94"/>
                <a:gd name="T82" fmla="*/ 30 w 56"/>
                <a:gd name="T83" fmla="*/ 12 h 94"/>
                <a:gd name="T84" fmla="*/ 32 w 56"/>
                <a:gd name="T85" fmla="*/ 4 h 94"/>
                <a:gd name="T86" fmla="*/ 31 w 56"/>
                <a:gd name="T87" fmla="*/ 0 h 94"/>
                <a:gd name="T88" fmla="*/ 29 w 56"/>
                <a:gd name="T89" fmla="*/ 4 h 94"/>
                <a:gd name="T90" fmla="*/ 25 w 56"/>
                <a:gd name="T91" fmla="*/ 4 h 94"/>
                <a:gd name="T92" fmla="*/ 17 w 56"/>
                <a:gd name="T93" fmla="*/ 1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6"/>
                <a:gd name="T142" fmla="*/ 0 h 94"/>
                <a:gd name="T143" fmla="*/ 56 w 56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6" h="94">
                  <a:moveTo>
                    <a:pt x="14" y="0"/>
                  </a:moveTo>
                  <a:lnTo>
                    <a:pt x="12" y="8"/>
                  </a:lnTo>
                  <a:lnTo>
                    <a:pt x="12" y="14"/>
                  </a:lnTo>
                  <a:lnTo>
                    <a:pt x="12" y="29"/>
                  </a:lnTo>
                  <a:lnTo>
                    <a:pt x="8" y="30"/>
                  </a:lnTo>
                  <a:lnTo>
                    <a:pt x="8" y="33"/>
                  </a:lnTo>
                  <a:lnTo>
                    <a:pt x="8" y="36"/>
                  </a:lnTo>
                  <a:lnTo>
                    <a:pt x="9" y="36"/>
                  </a:lnTo>
                  <a:lnTo>
                    <a:pt x="10" y="37"/>
                  </a:lnTo>
                  <a:lnTo>
                    <a:pt x="10" y="40"/>
                  </a:lnTo>
                  <a:lnTo>
                    <a:pt x="7" y="41"/>
                  </a:lnTo>
                  <a:lnTo>
                    <a:pt x="5" y="41"/>
                  </a:lnTo>
                  <a:lnTo>
                    <a:pt x="6" y="40"/>
                  </a:lnTo>
                  <a:lnTo>
                    <a:pt x="3" y="39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1" y="39"/>
                  </a:lnTo>
                  <a:lnTo>
                    <a:pt x="0" y="42"/>
                  </a:lnTo>
                  <a:lnTo>
                    <a:pt x="0" y="43"/>
                  </a:lnTo>
                  <a:lnTo>
                    <a:pt x="1" y="44"/>
                  </a:lnTo>
                  <a:lnTo>
                    <a:pt x="2" y="45"/>
                  </a:lnTo>
                  <a:lnTo>
                    <a:pt x="4" y="46"/>
                  </a:lnTo>
                  <a:lnTo>
                    <a:pt x="6" y="56"/>
                  </a:lnTo>
                  <a:lnTo>
                    <a:pt x="10" y="63"/>
                  </a:lnTo>
                  <a:lnTo>
                    <a:pt x="11" y="62"/>
                  </a:lnTo>
                  <a:lnTo>
                    <a:pt x="12" y="60"/>
                  </a:lnTo>
                  <a:lnTo>
                    <a:pt x="13" y="59"/>
                  </a:lnTo>
                  <a:lnTo>
                    <a:pt x="15" y="59"/>
                  </a:lnTo>
                  <a:lnTo>
                    <a:pt x="14" y="66"/>
                  </a:lnTo>
                  <a:lnTo>
                    <a:pt x="13" y="68"/>
                  </a:lnTo>
                  <a:lnTo>
                    <a:pt x="13" y="71"/>
                  </a:lnTo>
                  <a:lnTo>
                    <a:pt x="15" y="75"/>
                  </a:lnTo>
                  <a:lnTo>
                    <a:pt x="17" y="80"/>
                  </a:lnTo>
                  <a:lnTo>
                    <a:pt x="25" y="78"/>
                  </a:lnTo>
                  <a:lnTo>
                    <a:pt x="27" y="78"/>
                  </a:lnTo>
                  <a:lnTo>
                    <a:pt x="29" y="78"/>
                  </a:lnTo>
                  <a:lnTo>
                    <a:pt x="32" y="79"/>
                  </a:lnTo>
                  <a:lnTo>
                    <a:pt x="38" y="84"/>
                  </a:lnTo>
                  <a:lnTo>
                    <a:pt x="38" y="81"/>
                  </a:lnTo>
                  <a:lnTo>
                    <a:pt x="37" y="77"/>
                  </a:lnTo>
                  <a:lnTo>
                    <a:pt x="37" y="76"/>
                  </a:lnTo>
                  <a:lnTo>
                    <a:pt x="38" y="77"/>
                  </a:lnTo>
                  <a:lnTo>
                    <a:pt x="42" y="80"/>
                  </a:lnTo>
                  <a:lnTo>
                    <a:pt x="45" y="84"/>
                  </a:lnTo>
                  <a:lnTo>
                    <a:pt x="50" y="92"/>
                  </a:lnTo>
                  <a:lnTo>
                    <a:pt x="52" y="93"/>
                  </a:lnTo>
                  <a:lnTo>
                    <a:pt x="54" y="94"/>
                  </a:lnTo>
                  <a:lnTo>
                    <a:pt x="54" y="90"/>
                  </a:lnTo>
                  <a:lnTo>
                    <a:pt x="54" y="89"/>
                  </a:lnTo>
                  <a:lnTo>
                    <a:pt x="56" y="88"/>
                  </a:lnTo>
                  <a:lnTo>
                    <a:pt x="52" y="79"/>
                  </a:lnTo>
                  <a:lnTo>
                    <a:pt x="51" y="75"/>
                  </a:lnTo>
                  <a:lnTo>
                    <a:pt x="50" y="71"/>
                  </a:lnTo>
                  <a:lnTo>
                    <a:pt x="42" y="73"/>
                  </a:lnTo>
                  <a:lnTo>
                    <a:pt x="42" y="67"/>
                  </a:lnTo>
                  <a:lnTo>
                    <a:pt x="37" y="68"/>
                  </a:lnTo>
                  <a:lnTo>
                    <a:pt x="33" y="69"/>
                  </a:lnTo>
                  <a:lnTo>
                    <a:pt x="30" y="70"/>
                  </a:lnTo>
                  <a:lnTo>
                    <a:pt x="25" y="71"/>
                  </a:lnTo>
                  <a:lnTo>
                    <a:pt x="24" y="66"/>
                  </a:lnTo>
                  <a:lnTo>
                    <a:pt x="24" y="63"/>
                  </a:lnTo>
                  <a:lnTo>
                    <a:pt x="23" y="61"/>
                  </a:lnTo>
                  <a:lnTo>
                    <a:pt x="23" y="62"/>
                  </a:lnTo>
                  <a:lnTo>
                    <a:pt x="23" y="61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23" y="54"/>
                  </a:lnTo>
                  <a:lnTo>
                    <a:pt x="23" y="53"/>
                  </a:lnTo>
                  <a:lnTo>
                    <a:pt x="23" y="52"/>
                  </a:lnTo>
                  <a:lnTo>
                    <a:pt x="23" y="51"/>
                  </a:lnTo>
                  <a:lnTo>
                    <a:pt x="22" y="48"/>
                  </a:lnTo>
                  <a:lnTo>
                    <a:pt x="21" y="46"/>
                  </a:lnTo>
                  <a:lnTo>
                    <a:pt x="23" y="46"/>
                  </a:lnTo>
                  <a:lnTo>
                    <a:pt x="26" y="41"/>
                  </a:lnTo>
                  <a:lnTo>
                    <a:pt x="29" y="36"/>
                  </a:lnTo>
                  <a:lnTo>
                    <a:pt x="33" y="31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6" y="24"/>
                  </a:lnTo>
                  <a:lnTo>
                    <a:pt x="34" y="21"/>
                  </a:lnTo>
                  <a:lnTo>
                    <a:pt x="31" y="17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31" y="8"/>
                  </a:lnTo>
                  <a:lnTo>
                    <a:pt x="32" y="4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30" y="2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5" y="4"/>
                  </a:lnTo>
                  <a:lnTo>
                    <a:pt x="21" y="3"/>
                  </a:lnTo>
                  <a:lnTo>
                    <a:pt x="17" y="1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4201" y="2236"/>
              <a:ext cx="33" cy="44"/>
            </a:xfrm>
            <a:custGeom>
              <a:avLst/>
              <a:gdLst>
                <a:gd name="T0" fmla="*/ 29 w 33"/>
                <a:gd name="T1" fmla="*/ 0 h 44"/>
                <a:gd name="T2" fmla="*/ 29 w 33"/>
                <a:gd name="T3" fmla="*/ 1 h 44"/>
                <a:gd name="T4" fmla="*/ 29 w 33"/>
                <a:gd name="T5" fmla="*/ 3 h 44"/>
                <a:gd name="T6" fmla="*/ 29 w 33"/>
                <a:gd name="T7" fmla="*/ 5 h 44"/>
                <a:gd name="T8" fmla="*/ 29 w 33"/>
                <a:gd name="T9" fmla="*/ 6 h 44"/>
                <a:gd name="T10" fmla="*/ 29 w 33"/>
                <a:gd name="T11" fmla="*/ 8 h 44"/>
                <a:gd name="T12" fmla="*/ 25 w 33"/>
                <a:gd name="T13" fmla="*/ 8 h 44"/>
                <a:gd name="T14" fmla="*/ 20 w 33"/>
                <a:gd name="T15" fmla="*/ 21 h 44"/>
                <a:gd name="T16" fmla="*/ 17 w 33"/>
                <a:gd name="T17" fmla="*/ 28 h 44"/>
                <a:gd name="T18" fmla="*/ 16 w 33"/>
                <a:gd name="T19" fmla="*/ 30 h 44"/>
                <a:gd name="T20" fmla="*/ 14 w 33"/>
                <a:gd name="T21" fmla="*/ 33 h 44"/>
                <a:gd name="T22" fmla="*/ 13 w 33"/>
                <a:gd name="T23" fmla="*/ 33 h 44"/>
                <a:gd name="T24" fmla="*/ 11 w 33"/>
                <a:gd name="T25" fmla="*/ 34 h 44"/>
                <a:gd name="T26" fmla="*/ 8 w 33"/>
                <a:gd name="T27" fmla="*/ 35 h 44"/>
                <a:gd name="T28" fmla="*/ 5 w 33"/>
                <a:gd name="T29" fmla="*/ 36 h 44"/>
                <a:gd name="T30" fmla="*/ 3 w 33"/>
                <a:gd name="T31" fmla="*/ 37 h 44"/>
                <a:gd name="T32" fmla="*/ 2 w 33"/>
                <a:gd name="T33" fmla="*/ 38 h 44"/>
                <a:gd name="T34" fmla="*/ 1 w 33"/>
                <a:gd name="T35" fmla="*/ 41 h 44"/>
                <a:gd name="T36" fmla="*/ 0 w 33"/>
                <a:gd name="T37" fmla="*/ 43 h 44"/>
                <a:gd name="T38" fmla="*/ 1 w 33"/>
                <a:gd name="T39" fmla="*/ 44 h 44"/>
                <a:gd name="T40" fmla="*/ 2 w 33"/>
                <a:gd name="T41" fmla="*/ 44 h 44"/>
                <a:gd name="T42" fmla="*/ 10 w 33"/>
                <a:gd name="T43" fmla="*/ 41 h 44"/>
                <a:gd name="T44" fmla="*/ 15 w 33"/>
                <a:gd name="T45" fmla="*/ 39 h 44"/>
                <a:gd name="T46" fmla="*/ 18 w 33"/>
                <a:gd name="T47" fmla="*/ 36 h 44"/>
                <a:gd name="T48" fmla="*/ 19 w 33"/>
                <a:gd name="T49" fmla="*/ 34 h 44"/>
                <a:gd name="T50" fmla="*/ 20 w 33"/>
                <a:gd name="T51" fmla="*/ 31 h 44"/>
                <a:gd name="T52" fmla="*/ 20 w 33"/>
                <a:gd name="T53" fmla="*/ 28 h 44"/>
                <a:gd name="T54" fmla="*/ 22 w 33"/>
                <a:gd name="T55" fmla="*/ 25 h 44"/>
                <a:gd name="T56" fmla="*/ 24 w 33"/>
                <a:gd name="T57" fmla="*/ 22 h 44"/>
                <a:gd name="T58" fmla="*/ 28 w 33"/>
                <a:gd name="T59" fmla="*/ 20 h 44"/>
                <a:gd name="T60" fmla="*/ 31 w 33"/>
                <a:gd name="T61" fmla="*/ 17 h 44"/>
                <a:gd name="T62" fmla="*/ 32 w 33"/>
                <a:gd name="T63" fmla="*/ 15 h 44"/>
                <a:gd name="T64" fmla="*/ 33 w 33"/>
                <a:gd name="T65" fmla="*/ 13 h 44"/>
                <a:gd name="T66" fmla="*/ 31 w 33"/>
                <a:gd name="T67" fmla="*/ 7 h 44"/>
                <a:gd name="T68" fmla="*/ 29 w 33"/>
                <a:gd name="T69" fmla="*/ 0 h 4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"/>
                <a:gd name="T106" fmla="*/ 0 h 44"/>
                <a:gd name="T107" fmla="*/ 33 w 33"/>
                <a:gd name="T108" fmla="*/ 44 h 4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" h="44">
                  <a:moveTo>
                    <a:pt x="29" y="0"/>
                  </a:moveTo>
                  <a:lnTo>
                    <a:pt x="29" y="1"/>
                  </a:lnTo>
                  <a:lnTo>
                    <a:pt x="29" y="3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8"/>
                  </a:lnTo>
                  <a:lnTo>
                    <a:pt x="25" y="8"/>
                  </a:lnTo>
                  <a:lnTo>
                    <a:pt x="20" y="21"/>
                  </a:lnTo>
                  <a:lnTo>
                    <a:pt x="17" y="28"/>
                  </a:lnTo>
                  <a:lnTo>
                    <a:pt x="16" y="30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1" y="34"/>
                  </a:lnTo>
                  <a:lnTo>
                    <a:pt x="8" y="35"/>
                  </a:lnTo>
                  <a:lnTo>
                    <a:pt x="5" y="36"/>
                  </a:lnTo>
                  <a:lnTo>
                    <a:pt x="3" y="37"/>
                  </a:lnTo>
                  <a:lnTo>
                    <a:pt x="2" y="38"/>
                  </a:lnTo>
                  <a:lnTo>
                    <a:pt x="1" y="41"/>
                  </a:lnTo>
                  <a:lnTo>
                    <a:pt x="0" y="43"/>
                  </a:lnTo>
                  <a:lnTo>
                    <a:pt x="1" y="44"/>
                  </a:lnTo>
                  <a:lnTo>
                    <a:pt x="2" y="44"/>
                  </a:lnTo>
                  <a:lnTo>
                    <a:pt x="10" y="41"/>
                  </a:lnTo>
                  <a:lnTo>
                    <a:pt x="15" y="39"/>
                  </a:lnTo>
                  <a:lnTo>
                    <a:pt x="18" y="36"/>
                  </a:lnTo>
                  <a:lnTo>
                    <a:pt x="19" y="34"/>
                  </a:lnTo>
                  <a:lnTo>
                    <a:pt x="20" y="31"/>
                  </a:lnTo>
                  <a:lnTo>
                    <a:pt x="20" y="28"/>
                  </a:lnTo>
                  <a:lnTo>
                    <a:pt x="22" y="25"/>
                  </a:lnTo>
                  <a:lnTo>
                    <a:pt x="24" y="22"/>
                  </a:lnTo>
                  <a:lnTo>
                    <a:pt x="28" y="20"/>
                  </a:lnTo>
                  <a:lnTo>
                    <a:pt x="31" y="17"/>
                  </a:lnTo>
                  <a:lnTo>
                    <a:pt x="32" y="15"/>
                  </a:lnTo>
                  <a:lnTo>
                    <a:pt x="33" y="13"/>
                  </a:lnTo>
                  <a:lnTo>
                    <a:pt x="31" y="7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8" name="Freeform 19"/>
            <p:cNvSpPr>
              <a:spLocks/>
            </p:cNvSpPr>
            <p:nvPr/>
          </p:nvSpPr>
          <p:spPr bwMode="auto">
            <a:xfrm>
              <a:off x="4260" y="2267"/>
              <a:ext cx="60" cy="59"/>
            </a:xfrm>
            <a:custGeom>
              <a:avLst/>
              <a:gdLst>
                <a:gd name="T0" fmla="*/ 45 w 60"/>
                <a:gd name="T1" fmla="*/ 1 h 59"/>
                <a:gd name="T2" fmla="*/ 45 w 60"/>
                <a:gd name="T3" fmla="*/ 9 h 59"/>
                <a:gd name="T4" fmla="*/ 41 w 60"/>
                <a:gd name="T5" fmla="*/ 9 h 59"/>
                <a:gd name="T6" fmla="*/ 37 w 60"/>
                <a:gd name="T7" fmla="*/ 9 h 59"/>
                <a:gd name="T8" fmla="*/ 34 w 60"/>
                <a:gd name="T9" fmla="*/ 15 h 59"/>
                <a:gd name="T10" fmla="*/ 29 w 60"/>
                <a:gd name="T11" fmla="*/ 16 h 59"/>
                <a:gd name="T12" fmla="*/ 23 w 60"/>
                <a:gd name="T13" fmla="*/ 17 h 59"/>
                <a:gd name="T14" fmla="*/ 24 w 60"/>
                <a:gd name="T15" fmla="*/ 19 h 59"/>
                <a:gd name="T16" fmla="*/ 22 w 60"/>
                <a:gd name="T17" fmla="*/ 18 h 59"/>
                <a:gd name="T18" fmla="*/ 21 w 60"/>
                <a:gd name="T19" fmla="*/ 14 h 59"/>
                <a:gd name="T20" fmla="*/ 17 w 60"/>
                <a:gd name="T21" fmla="*/ 13 h 59"/>
                <a:gd name="T22" fmla="*/ 14 w 60"/>
                <a:gd name="T23" fmla="*/ 14 h 59"/>
                <a:gd name="T24" fmla="*/ 11 w 60"/>
                <a:gd name="T25" fmla="*/ 17 h 59"/>
                <a:gd name="T26" fmla="*/ 7 w 60"/>
                <a:gd name="T27" fmla="*/ 19 h 59"/>
                <a:gd name="T28" fmla="*/ 2 w 60"/>
                <a:gd name="T29" fmla="*/ 23 h 59"/>
                <a:gd name="T30" fmla="*/ 3 w 60"/>
                <a:gd name="T31" fmla="*/ 30 h 59"/>
                <a:gd name="T32" fmla="*/ 0 w 60"/>
                <a:gd name="T33" fmla="*/ 31 h 59"/>
                <a:gd name="T34" fmla="*/ 0 w 60"/>
                <a:gd name="T35" fmla="*/ 34 h 59"/>
                <a:gd name="T36" fmla="*/ 2 w 60"/>
                <a:gd name="T37" fmla="*/ 36 h 59"/>
                <a:gd name="T38" fmla="*/ 9 w 60"/>
                <a:gd name="T39" fmla="*/ 28 h 59"/>
                <a:gd name="T40" fmla="*/ 8 w 60"/>
                <a:gd name="T41" fmla="*/ 27 h 59"/>
                <a:gd name="T42" fmla="*/ 11 w 60"/>
                <a:gd name="T43" fmla="*/ 28 h 59"/>
                <a:gd name="T44" fmla="*/ 12 w 60"/>
                <a:gd name="T45" fmla="*/ 29 h 59"/>
                <a:gd name="T46" fmla="*/ 20 w 60"/>
                <a:gd name="T47" fmla="*/ 30 h 59"/>
                <a:gd name="T48" fmla="*/ 28 w 60"/>
                <a:gd name="T49" fmla="*/ 34 h 59"/>
                <a:gd name="T50" fmla="*/ 25 w 60"/>
                <a:gd name="T51" fmla="*/ 39 h 59"/>
                <a:gd name="T52" fmla="*/ 26 w 60"/>
                <a:gd name="T53" fmla="*/ 44 h 59"/>
                <a:gd name="T54" fmla="*/ 27 w 60"/>
                <a:gd name="T55" fmla="*/ 47 h 59"/>
                <a:gd name="T56" fmla="*/ 32 w 60"/>
                <a:gd name="T57" fmla="*/ 51 h 59"/>
                <a:gd name="T58" fmla="*/ 41 w 60"/>
                <a:gd name="T59" fmla="*/ 53 h 59"/>
                <a:gd name="T60" fmla="*/ 44 w 60"/>
                <a:gd name="T61" fmla="*/ 57 h 59"/>
                <a:gd name="T62" fmla="*/ 46 w 60"/>
                <a:gd name="T63" fmla="*/ 48 h 59"/>
                <a:gd name="T64" fmla="*/ 48 w 60"/>
                <a:gd name="T65" fmla="*/ 43 h 59"/>
                <a:gd name="T66" fmla="*/ 50 w 60"/>
                <a:gd name="T67" fmla="*/ 44 h 59"/>
                <a:gd name="T68" fmla="*/ 50 w 60"/>
                <a:gd name="T69" fmla="*/ 42 h 59"/>
                <a:gd name="T70" fmla="*/ 47 w 60"/>
                <a:gd name="T71" fmla="*/ 36 h 59"/>
                <a:gd name="T72" fmla="*/ 51 w 60"/>
                <a:gd name="T73" fmla="*/ 34 h 59"/>
                <a:gd name="T74" fmla="*/ 55 w 60"/>
                <a:gd name="T75" fmla="*/ 27 h 59"/>
                <a:gd name="T76" fmla="*/ 59 w 60"/>
                <a:gd name="T77" fmla="*/ 21 h 59"/>
                <a:gd name="T78" fmla="*/ 60 w 60"/>
                <a:gd name="T79" fmla="*/ 18 h 59"/>
                <a:gd name="T80" fmla="*/ 57 w 60"/>
                <a:gd name="T81" fmla="*/ 16 h 59"/>
                <a:gd name="T82" fmla="*/ 54 w 60"/>
                <a:gd name="T83" fmla="*/ 11 h 59"/>
                <a:gd name="T84" fmla="*/ 53 w 60"/>
                <a:gd name="T85" fmla="*/ 4 h 59"/>
                <a:gd name="T86" fmla="*/ 49 w 60"/>
                <a:gd name="T87" fmla="*/ 0 h 5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0"/>
                <a:gd name="T133" fmla="*/ 0 h 59"/>
                <a:gd name="T134" fmla="*/ 60 w 60"/>
                <a:gd name="T135" fmla="*/ 59 h 59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0" h="59">
                  <a:moveTo>
                    <a:pt x="45" y="0"/>
                  </a:moveTo>
                  <a:lnTo>
                    <a:pt x="45" y="1"/>
                  </a:lnTo>
                  <a:lnTo>
                    <a:pt x="45" y="4"/>
                  </a:lnTo>
                  <a:lnTo>
                    <a:pt x="45" y="9"/>
                  </a:lnTo>
                  <a:lnTo>
                    <a:pt x="43" y="10"/>
                  </a:lnTo>
                  <a:lnTo>
                    <a:pt x="41" y="9"/>
                  </a:lnTo>
                  <a:lnTo>
                    <a:pt x="39" y="9"/>
                  </a:lnTo>
                  <a:lnTo>
                    <a:pt x="37" y="9"/>
                  </a:lnTo>
                  <a:lnTo>
                    <a:pt x="37" y="15"/>
                  </a:lnTo>
                  <a:lnTo>
                    <a:pt x="34" y="15"/>
                  </a:lnTo>
                  <a:lnTo>
                    <a:pt x="31" y="15"/>
                  </a:lnTo>
                  <a:lnTo>
                    <a:pt x="29" y="16"/>
                  </a:lnTo>
                  <a:lnTo>
                    <a:pt x="24" y="17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4" y="19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1" y="15"/>
                  </a:lnTo>
                  <a:lnTo>
                    <a:pt x="21" y="14"/>
                  </a:lnTo>
                  <a:lnTo>
                    <a:pt x="19" y="13"/>
                  </a:lnTo>
                  <a:lnTo>
                    <a:pt x="17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3" y="15"/>
                  </a:lnTo>
                  <a:lnTo>
                    <a:pt x="11" y="17"/>
                  </a:lnTo>
                  <a:lnTo>
                    <a:pt x="9" y="18"/>
                  </a:lnTo>
                  <a:lnTo>
                    <a:pt x="7" y="19"/>
                  </a:lnTo>
                  <a:lnTo>
                    <a:pt x="3" y="21"/>
                  </a:lnTo>
                  <a:lnTo>
                    <a:pt x="2" y="23"/>
                  </a:lnTo>
                  <a:lnTo>
                    <a:pt x="2" y="25"/>
                  </a:lnTo>
                  <a:lnTo>
                    <a:pt x="3" y="30"/>
                  </a:lnTo>
                  <a:lnTo>
                    <a:pt x="1" y="31"/>
                  </a:lnTo>
                  <a:lnTo>
                    <a:pt x="0" y="31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1" y="36"/>
                  </a:lnTo>
                  <a:lnTo>
                    <a:pt x="2" y="36"/>
                  </a:lnTo>
                  <a:lnTo>
                    <a:pt x="3" y="36"/>
                  </a:lnTo>
                  <a:lnTo>
                    <a:pt x="9" y="28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10" y="27"/>
                  </a:lnTo>
                  <a:lnTo>
                    <a:pt x="11" y="28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1" y="30"/>
                  </a:lnTo>
                  <a:lnTo>
                    <a:pt x="20" y="30"/>
                  </a:lnTo>
                  <a:lnTo>
                    <a:pt x="28" y="30"/>
                  </a:lnTo>
                  <a:lnTo>
                    <a:pt x="28" y="34"/>
                  </a:lnTo>
                  <a:lnTo>
                    <a:pt x="24" y="36"/>
                  </a:lnTo>
                  <a:lnTo>
                    <a:pt x="25" y="39"/>
                  </a:lnTo>
                  <a:lnTo>
                    <a:pt x="25" y="41"/>
                  </a:lnTo>
                  <a:lnTo>
                    <a:pt x="26" y="44"/>
                  </a:lnTo>
                  <a:lnTo>
                    <a:pt x="26" y="45"/>
                  </a:lnTo>
                  <a:lnTo>
                    <a:pt x="27" y="47"/>
                  </a:lnTo>
                  <a:lnTo>
                    <a:pt x="30" y="50"/>
                  </a:lnTo>
                  <a:lnTo>
                    <a:pt x="32" y="51"/>
                  </a:lnTo>
                  <a:lnTo>
                    <a:pt x="34" y="52"/>
                  </a:lnTo>
                  <a:lnTo>
                    <a:pt x="41" y="53"/>
                  </a:lnTo>
                  <a:lnTo>
                    <a:pt x="41" y="59"/>
                  </a:lnTo>
                  <a:lnTo>
                    <a:pt x="44" y="57"/>
                  </a:lnTo>
                  <a:lnTo>
                    <a:pt x="47" y="55"/>
                  </a:lnTo>
                  <a:lnTo>
                    <a:pt x="46" y="48"/>
                  </a:lnTo>
                  <a:lnTo>
                    <a:pt x="45" y="42"/>
                  </a:lnTo>
                  <a:lnTo>
                    <a:pt x="48" y="43"/>
                  </a:lnTo>
                  <a:lnTo>
                    <a:pt x="49" y="44"/>
                  </a:lnTo>
                  <a:lnTo>
                    <a:pt x="50" y="44"/>
                  </a:lnTo>
                  <a:lnTo>
                    <a:pt x="51" y="44"/>
                  </a:lnTo>
                  <a:lnTo>
                    <a:pt x="50" y="42"/>
                  </a:lnTo>
                  <a:lnTo>
                    <a:pt x="48" y="38"/>
                  </a:lnTo>
                  <a:lnTo>
                    <a:pt x="47" y="36"/>
                  </a:lnTo>
                  <a:lnTo>
                    <a:pt x="47" y="34"/>
                  </a:lnTo>
                  <a:lnTo>
                    <a:pt x="51" y="34"/>
                  </a:lnTo>
                  <a:lnTo>
                    <a:pt x="53" y="30"/>
                  </a:lnTo>
                  <a:lnTo>
                    <a:pt x="55" y="27"/>
                  </a:lnTo>
                  <a:lnTo>
                    <a:pt x="58" y="22"/>
                  </a:lnTo>
                  <a:lnTo>
                    <a:pt x="59" y="21"/>
                  </a:lnTo>
                  <a:lnTo>
                    <a:pt x="60" y="19"/>
                  </a:lnTo>
                  <a:lnTo>
                    <a:pt x="60" y="18"/>
                  </a:lnTo>
                  <a:lnTo>
                    <a:pt x="59" y="17"/>
                  </a:lnTo>
                  <a:lnTo>
                    <a:pt x="57" y="16"/>
                  </a:lnTo>
                  <a:lnTo>
                    <a:pt x="55" y="14"/>
                  </a:lnTo>
                  <a:lnTo>
                    <a:pt x="54" y="11"/>
                  </a:lnTo>
                  <a:lnTo>
                    <a:pt x="54" y="9"/>
                  </a:lnTo>
                  <a:lnTo>
                    <a:pt x="53" y="4"/>
                  </a:lnTo>
                  <a:lnTo>
                    <a:pt x="53" y="0"/>
                  </a:lnTo>
                  <a:lnTo>
                    <a:pt x="49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Freeform 20"/>
            <p:cNvSpPr>
              <a:spLocks/>
            </p:cNvSpPr>
            <p:nvPr/>
          </p:nvSpPr>
          <p:spPr bwMode="auto">
            <a:xfrm>
              <a:off x="3927" y="2316"/>
              <a:ext cx="138" cy="179"/>
            </a:xfrm>
            <a:custGeom>
              <a:avLst/>
              <a:gdLst>
                <a:gd name="T0" fmla="*/ 1 w 138"/>
                <a:gd name="T1" fmla="*/ 4 h 179"/>
                <a:gd name="T2" fmla="*/ 1 w 138"/>
                <a:gd name="T3" fmla="*/ 14 h 179"/>
                <a:gd name="T4" fmla="*/ 10 w 138"/>
                <a:gd name="T5" fmla="*/ 24 h 179"/>
                <a:gd name="T6" fmla="*/ 25 w 138"/>
                <a:gd name="T7" fmla="*/ 38 h 179"/>
                <a:gd name="T8" fmla="*/ 31 w 138"/>
                <a:gd name="T9" fmla="*/ 51 h 179"/>
                <a:gd name="T10" fmla="*/ 42 w 138"/>
                <a:gd name="T11" fmla="*/ 60 h 179"/>
                <a:gd name="T12" fmla="*/ 49 w 138"/>
                <a:gd name="T13" fmla="*/ 67 h 179"/>
                <a:gd name="T14" fmla="*/ 50 w 138"/>
                <a:gd name="T15" fmla="*/ 82 h 179"/>
                <a:gd name="T16" fmla="*/ 52 w 138"/>
                <a:gd name="T17" fmla="*/ 88 h 179"/>
                <a:gd name="T18" fmla="*/ 59 w 138"/>
                <a:gd name="T19" fmla="*/ 95 h 179"/>
                <a:gd name="T20" fmla="*/ 69 w 138"/>
                <a:gd name="T21" fmla="*/ 106 h 179"/>
                <a:gd name="T22" fmla="*/ 77 w 138"/>
                <a:gd name="T23" fmla="*/ 127 h 179"/>
                <a:gd name="T24" fmla="*/ 84 w 138"/>
                <a:gd name="T25" fmla="*/ 139 h 179"/>
                <a:gd name="T26" fmla="*/ 90 w 138"/>
                <a:gd name="T27" fmla="*/ 149 h 179"/>
                <a:gd name="T28" fmla="*/ 96 w 138"/>
                <a:gd name="T29" fmla="*/ 164 h 179"/>
                <a:gd name="T30" fmla="*/ 103 w 138"/>
                <a:gd name="T31" fmla="*/ 168 h 179"/>
                <a:gd name="T32" fmla="*/ 109 w 138"/>
                <a:gd name="T33" fmla="*/ 173 h 179"/>
                <a:gd name="T34" fmla="*/ 121 w 138"/>
                <a:gd name="T35" fmla="*/ 179 h 179"/>
                <a:gd name="T36" fmla="*/ 120 w 138"/>
                <a:gd name="T37" fmla="*/ 175 h 179"/>
                <a:gd name="T38" fmla="*/ 127 w 138"/>
                <a:gd name="T39" fmla="*/ 174 h 179"/>
                <a:gd name="T40" fmla="*/ 134 w 138"/>
                <a:gd name="T41" fmla="*/ 163 h 179"/>
                <a:gd name="T42" fmla="*/ 130 w 138"/>
                <a:gd name="T43" fmla="*/ 158 h 179"/>
                <a:gd name="T44" fmla="*/ 138 w 138"/>
                <a:gd name="T45" fmla="*/ 143 h 179"/>
                <a:gd name="T46" fmla="*/ 132 w 138"/>
                <a:gd name="T47" fmla="*/ 133 h 179"/>
                <a:gd name="T48" fmla="*/ 123 w 138"/>
                <a:gd name="T49" fmla="*/ 130 h 179"/>
                <a:gd name="T50" fmla="*/ 119 w 138"/>
                <a:gd name="T51" fmla="*/ 125 h 179"/>
                <a:gd name="T52" fmla="*/ 119 w 138"/>
                <a:gd name="T53" fmla="*/ 110 h 179"/>
                <a:gd name="T54" fmla="*/ 107 w 138"/>
                <a:gd name="T55" fmla="*/ 100 h 179"/>
                <a:gd name="T56" fmla="*/ 109 w 138"/>
                <a:gd name="T57" fmla="*/ 96 h 179"/>
                <a:gd name="T58" fmla="*/ 107 w 138"/>
                <a:gd name="T59" fmla="*/ 89 h 179"/>
                <a:gd name="T60" fmla="*/ 103 w 138"/>
                <a:gd name="T61" fmla="*/ 86 h 179"/>
                <a:gd name="T62" fmla="*/ 98 w 138"/>
                <a:gd name="T63" fmla="*/ 81 h 179"/>
                <a:gd name="T64" fmla="*/ 100 w 138"/>
                <a:gd name="T65" fmla="*/ 76 h 179"/>
                <a:gd name="T66" fmla="*/ 90 w 138"/>
                <a:gd name="T67" fmla="*/ 79 h 179"/>
                <a:gd name="T68" fmla="*/ 88 w 138"/>
                <a:gd name="T69" fmla="*/ 70 h 179"/>
                <a:gd name="T70" fmla="*/ 82 w 138"/>
                <a:gd name="T71" fmla="*/ 67 h 179"/>
                <a:gd name="T72" fmla="*/ 79 w 138"/>
                <a:gd name="T73" fmla="*/ 61 h 179"/>
                <a:gd name="T74" fmla="*/ 77 w 138"/>
                <a:gd name="T75" fmla="*/ 56 h 179"/>
                <a:gd name="T76" fmla="*/ 75 w 138"/>
                <a:gd name="T77" fmla="*/ 57 h 179"/>
                <a:gd name="T78" fmla="*/ 71 w 138"/>
                <a:gd name="T79" fmla="*/ 57 h 179"/>
                <a:gd name="T80" fmla="*/ 67 w 138"/>
                <a:gd name="T81" fmla="*/ 52 h 179"/>
                <a:gd name="T82" fmla="*/ 67 w 138"/>
                <a:gd name="T83" fmla="*/ 45 h 179"/>
                <a:gd name="T84" fmla="*/ 61 w 138"/>
                <a:gd name="T85" fmla="*/ 39 h 179"/>
                <a:gd name="T86" fmla="*/ 52 w 138"/>
                <a:gd name="T87" fmla="*/ 35 h 179"/>
                <a:gd name="T88" fmla="*/ 50 w 138"/>
                <a:gd name="T89" fmla="*/ 29 h 179"/>
                <a:gd name="T90" fmla="*/ 48 w 138"/>
                <a:gd name="T91" fmla="*/ 26 h 179"/>
                <a:gd name="T92" fmla="*/ 37 w 138"/>
                <a:gd name="T93" fmla="*/ 17 h 179"/>
                <a:gd name="T94" fmla="*/ 35 w 138"/>
                <a:gd name="T95" fmla="*/ 9 h 179"/>
                <a:gd name="T96" fmla="*/ 30 w 138"/>
                <a:gd name="T97" fmla="*/ 7 h 179"/>
                <a:gd name="T98" fmla="*/ 13 w 138"/>
                <a:gd name="T99" fmla="*/ 6 h 179"/>
                <a:gd name="T100" fmla="*/ 10 w 138"/>
                <a:gd name="T101" fmla="*/ 1 h 179"/>
                <a:gd name="T102" fmla="*/ 4 w 138"/>
                <a:gd name="T103" fmla="*/ 1 h 179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38"/>
                <a:gd name="T157" fmla="*/ 0 h 179"/>
                <a:gd name="T158" fmla="*/ 138 w 138"/>
                <a:gd name="T159" fmla="*/ 179 h 179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38" h="179">
                  <a:moveTo>
                    <a:pt x="2" y="1"/>
                  </a:moveTo>
                  <a:lnTo>
                    <a:pt x="2" y="2"/>
                  </a:lnTo>
                  <a:lnTo>
                    <a:pt x="1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1" y="14"/>
                  </a:lnTo>
                  <a:lnTo>
                    <a:pt x="3" y="17"/>
                  </a:lnTo>
                  <a:lnTo>
                    <a:pt x="6" y="21"/>
                  </a:lnTo>
                  <a:lnTo>
                    <a:pt x="10" y="24"/>
                  </a:lnTo>
                  <a:lnTo>
                    <a:pt x="17" y="30"/>
                  </a:lnTo>
                  <a:lnTo>
                    <a:pt x="23" y="35"/>
                  </a:lnTo>
                  <a:lnTo>
                    <a:pt x="25" y="38"/>
                  </a:lnTo>
                  <a:lnTo>
                    <a:pt x="26" y="40"/>
                  </a:lnTo>
                  <a:lnTo>
                    <a:pt x="29" y="46"/>
                  </a:lnTo>
                  <a:lnTo>
                    <a:pt x="31" y="51"/>
                  </a:lnTo>
                  <a:lnTo>
                    <a:pt x="34" y="56"/>
                  </a:lnTo>
                  <a:lnTo>
                    <a:pt x="37" y="58"/>
                  </a:lnTo>
                  <a:lnTo>
                    <a:pt x="42" y="60"/>
                  </a:lnTo>
                  <a:lnTo>
                    <a:pt x="46" y="62"/>
                  </a:lnTo>
                  <a:lnTo>
                    <a:pt x="48" y="64"/>
                  </a:lnTo>
                  <a:lnTo>
                    <a:pt x="49" y="67"/>
                  </a:lnTo>
                  <a:lnTo>
                    <a:pt x="49" y="69"/>
                  </a:lnTo>
                  <a:lnTo>
                    <a:pt x="50" y="76"/>
                  </a:lnTo>
                  <a:lnTo>
                    <a:pt x="50" y="82"/>
                  </a:lnTo>
                  <a:lnTo>
                    <a:pt x="51" y="84"/>
                  </a:lnTo>
                  <a:lnTo>
                    <a:pt x="52" y="87"/>
                  </a:lnTo>
                  <a:lnTo>
                    <a:pt x="52" y="88"/>
                  </a:lnTo>
                  <a:lnTo>
                    <a:pt x="53" y="89"/>
                  </a:lnTo>
                  <a:lnTo>
                    <a:pt x="55" y="91"/>
                  </a:lnTo>
                  <a:lnTo>
                    <a:pt x="59" y="95"/>
                  </a:lnTo>
                  <a:lnTo>
                    <a:pt x="64" y="98"/>
                  </a:lnTo>
                  <a:lnTo>
                    <a:pt x="67" y="102"/>
                  </a:lnTo>
                  <a:lnTo>
                    <a:pt x="69" y="106"/>
                  </a:lnTo>
                  <a:lnTo>
                    <a:pt x="71" y="110"/>
                  </a:lnTo>
                  <a:lnTo>
                    <a:pt x="74" y="118"/>
                  </a:lnTo>
                  <a:lnTo>
                    <a:pt x="77" y="127"/>
                  </a:lnTo>
                  <a:lnTo>
                    <a:pt x="81" y="135"/>
                  </a:lnTo>
                  <a:lnTo>
                    <a:pt x="82" y="137"/>
                  </a:lnTo>
                  <a:lnTo>
                    <a:pt x="84" y="139"/>
                  </a:lnTo>
                  <a:lnTo>
                    <a:pt x="87" y="141"/>
                  </a:lnTo>
                  <a:lnTo>
                    <a:pt x="88" y="143"/>
                  </a:lnTo>
                  <a:lnTo>
                    <a:pt x="90" y="149"/>
                  </a:lnTo>
                  <a:lnTo>
                    <a:pt x="92" y="155"/>
                  </a:lnTo>
                  <a:lnTo>
                    <a:pt x="94" y="161"/>
                  </a:lnTo>
                  <a:lnTo>
                    <a:pt x="96" y="164"/>
                  </a:lnTo>
                  <a:lnTo>
                    <a:pt x="98" y="166"/>
                  </a:lnTo>
                  <a:lnTo>
                    <a:pt x="100" y="167"/>
                  </a:lnTo>
                  <a:lnTo>
                    <a:pt x="103" y="168"/>
                  </a:lnTo>
                  <a:lnTo>
                    <a:pt x="106" y="168"/>
                  </a:lnTo>
                  <a:lnTo>
                    <a:pt x="109" y="170"/>
                  </a:lnTo>
                  <a:lnTo>
                    <a:pt x="109" y="173"/>
                  </a:lnTo>
                  <a:lnTo>
                    <a:pt x="115" y="177"/>
                  </a:lnTo>
                  <a:lnTo>
                    <a:pt x="118" y="179"/>
                  </a:lnTo>
                  <a:lnTo>
                    <a:pt x="121" y="179"/>
                  </a:lnTo>
                  <a:lnTo>
                    <a:pt x="120" y="177"/>
                  </a:lnTo>
                  <a:lnTo>
                    <a:pt x="120" y="176"/>
                  </a:lnTo>
                  <a:lnTo>
                    <a:pt x="120" y="175"/>
                  </a:lnTo>
                  <a:lnTo>
                    <a:pt x="121" y="174"/>
                  </a:lnTo>
                  <a:lnTo>
                    <a:pt x="123" y="173"/>
                  </a:lnTo>
                  <a:lnTo>
                    <a:pt x="127" y="174"/>
                  </a:lnTo>
                  <a:lnTo>
                    <a:pt x="134" y="175"/>
                  </a:lnTo>
                  <a:lnTo>
                    <a:pt x="134" y="165"/>
                  </a:lnTo>
                  <a:lnTo>
                    <a:pt x="134" y="163"/>
                  </a:lnTo>
                  <a:lnTo>
                    <a:pt x="133" y="161"/>
                  </a:lnTo>
                  <a:lnTo>
                    <a:pt x="132" y="159"/>
                  </a:lnTo>
                  <a:lnTo>
                    <a:pt x="130" y="158"/>
                  </a:lnTo>
                  <a:lnTo>
                    <a:pt x="130" y="156"/>
                  </a:lnTo>
                  <a:lnTo>
                    <a:pt x="136" y="154"/>
                  </a:lnTo>
                  <a:lnTo>
                    <a:pt x="138" y="143"/>
                  </a:lnTo>
                  <a:lnTo>
                    <a:pt x="135" y="140"/>
                  </a:lnTo>
                  <a:lnTo>
                    <a:pt x="132" y="137"/>
                  </a:lnTo>
                  <a:lnTo>
                    <a:pt x="132" y="133"/>
                  </a:lnTo>
                  <a:lnTo>
                    <a:pt x="132" y="129"/>
                  </a:lnTo>
                  <a:lnTo>
                    <a:pt x="126" y="130"/>
                  </a:lnTo>
                  <a:lnTo>
                    <a:pt x="123" y="130"/>
                  </a:lnTo>
                  <a:lnTo>
                    <a:pt x="121" y="129"/>
                  </a:lnTo>
                  <a:lnTo>
                    <a:pt x="120" y="128"/>
                  </a:lnTo>
                  <a:lnTo>
                    <a:pt x="119" y="125"/>
                  </a:lnTo>
                  <a:lnTo>
                    <a:pt x="118" y="123"/>
                  </a:lnTo>
                  <a:lnTo>
                    <a:pt x="118" y="120"/>
                  </a:lnTo>
                  <a:lnTo>
                    <a:pt x="119" y="110"/>
                  </a:lnTo>
                  <a:lnTo>
                    <a:pt x="106" y="108"/>
                  </a:lnTo>
                  <a:lnTo>
                    <a:pt x="107" y="99"/>
                  </a:lnTo>
                  <a:lnTo>
                    <a:pt x="107" y="100"/>
                  </a:lnTo>
                  <a:lnTo>
                    <a:pt x="107" y="101"/>
                  </a:lnTo>
                  <a:lnTo>
                    <a:pt x="109" y="102"/>
                  </a:lnTo>
                  <a:lnTo>
                    <a:pt x="109" y="96"/>
                  </a:lnTo>
                  <a:lnTo>
                    <a:pt x="109" y="94"/>
                  </a:lnTo>
                  <a:lnTo>
                    <a:pt x="109" y="92"/>
                  </a:lnTo>
                  <a:lnTo>
                    <a:pt x="107" y="89"/>
                  </a:lnTo>
                  <a:lnTo>
                    <a:pt x="106" y="88"/>
                  </a:lnTo>
                  <a:lnTo>
                    <a:pt x="104" y="87"/>
                  </a:lnTo>
                  <a:lnTo>
                    <a:pt x="103" y="86"/>
                  </a:lnTo>
                  <a:lnTo>
                    <a:pt x="102" y="85"/>
                  </a:lnTo>
                  <a:lnTo>
                    <a:pt x="102" y="81"/>
                  </a:lnTo>
                  <a:lnTo>
                    <a:pt x="98" y="81"/>
                  </a:lnTo>
                  <a:lnTo>
                    <a:pt x="98" y="80"/>
                  </a:lnTo>
                  <a:lnTo>
                    <a:pt x="99" y="78"/>
                  </a:lnTo>
                  <a:lnTo>
                    <a:pt x="100" y="76"/>
                  </a:lnTo>
                  <a:lnTo>
                    <a:pt x="100" y="74"/>
                  </a:lnTo>
                  <a:lnTo>
                    <a:pt x="90" y="81"/>
                  </a:lnTo>
                  <a:lnTo>
                    <a:pt x="90" y="79"/>
                  </a:lnTo>
                  <a:lnTo>
                    <a:pt x="89" y="76"/>
                  </a:lnTo>
                  <a:lnTo>
                    <a:pt x="89" y="72"/>
                  </a:lnTo>
                  <a:lnTo>
                    <a:pt x="88" y="70"/>
                  </a:lnTo>
                  <a:lnTo>
                    <a:pt x="87" y="69"/>
                  </a:lnTo>
                  <a:lnTo>
                    <a:pt x="84" y="68"/>
                  </a:lnTo>
                  <a:lnTo>
                    <a:pt x="82" y="67"/>
                  </a:lnTo>
                  <a:lnTo>
                    <a:pt x="81" y="66"/>
                  </a:lnTo>
                  <a:lnTo>
                    <a:pt x="79" y="64"/>
                  </a:lnTo>
                  <a:lnTo>
                    <a:pt x="79" y="61"/>
                  </a:lnTo>
                  <a:lnTo>
                    <a:pt x="78" y="58"/>
                  </a:lnTo>
                  <a:lnTo>
                    <a:pt x="78" y="57"/>
                  </a:lnTo>
                  <a:lnTo>
                    <a:pt x="77" y="56"/>
                  </a:lnTo>
                  <a:lnTo>
                    <a:pt x="76" y="56"/>
                  </a:lnTo>
                  <a:lnTo>
                    <a:pt x="75" y="56"/>
                  </a:lnTo>
                  <a:lnTo>
                    <a:pt x="75" y="57"/>
                  </a:lnTo>
                  <a:lnTo>
                    <a:pt x="75" y="60"/>
                  </a:lnTo>
                  <a:lnTo>
                    <a:pt x="73" y="59"/>
                  </a:lnTo>
                  <a:lnTo>
                    <a:pt x="71" y="57"/>
                  </a:lnTo>
                  <a:lnTo>
                    <a:pt x="67" y="54"/>
                  </a:lnTo>
                  <a:lnTo>
                    <a:pt x="67" y="53"/>
                  </a:lnTo>
                  <a:lnTo>
                    <a:pt x="67" y="52"/>
                  </a:lnTo>
                  <a:lnTo>
                    <a:pt x="67" y="50"/>
                  </a:lnTo>
                  <a:lnTo>
                    <a:pt x="67" y="47"/>
                  </a:lnTo>
                  <a:lnTo>
                    <a:pt x="67" y="45"/>
                  </a:lnTo>
                  <a:lnTo>
                    <a:pt x="64" y="45"/>
                  </a:lnTo>
                  <a:lnTo>
                    <a:pt x="61" y="45"/>
                  </a:lnTo>
                  <a:lnTo>
                    <a:pt x="61" y="39"/>
                  </a:lnTo>
                  <a:lnTo>
                    <a:pt x="56" y="37"/>
                  </a:lnTo>
                  <a:lnTo>
                    <a:pt x="54" y="36"/>
                  </a:lnTo>
                  <a:lnTo>
                    <a:pt x="52" y="35"/>
                  </a:lnTo>
                  <a:lnTo>
                    <a:pt x="51" y="34"/>
                  </a:lnTo>
                  <a:lnTo>
                    <a:pt x="51" y="31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50" y="27"/>
                  </a:lnTo>
                  <a:lnTo>
                    <a:pt x="48" y="26"/>
                  </a:lnTo>
                  <a:lnTo>
                    <a:pt x="44" y="23"/>
                  </a:lnTo>
                  <a:lnTo>
                    <a:pt x="38" y="20"/>
                  </a:lnTo>
                  <a:lnTo>
                    <a:pt x="37" y="17"/>
                  </a:lnTo>
                  <a:lnTo>
                    <a:pt x="37" y="14"/>
                  </a:lnTo>
                  <a:lnTo>
                    <a:pt x="36" y="10"/>
                  </a:lnTo>
                  <a:lnTo>
                    <a:pt x="35" y="9"/>
                  </a:lnTo>
                  <a:lnTo>
                    <a:pt x="34" y="8"/>
                  </a:lnTo>
                  <a:lnTo>
                    <a:pt x="32" y="7"/>
                  </a:lnTo>
                  <a:lnTo>
                    <a:pt x="30" y="7"/>
                  </a:lnTo>
                  <a:lnTo>
                    <a:pt x="25" y="7"/>
                  </a:lnTo>
                  <a:lnTo>
                    <a:pt x="19" y="7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1" y="3"/>
                  </a:lnTo>
                  <a:lnTo>
                    <a:pt x="10" y="1"/>
                  </a:lnTo>
                  <a:lnTo>
                    <a:pt x="8" y="0"/>
                  </a:lnTo>
                  <a:lnTo>
                    <a:pt x="6" y="1"/>
                  </a:lnTo>
                  <a:lnTo>
                    <a:pt x="4" y="1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0" name="Freeform 21"/>
            <p:cNvSpPr>
              <a:spLocks/>
            </p:cNvSpPr>
            <p:nvPr/>
          </p:nvSpPr>
          <p:spPr bwMode="auto">
            <a:xfrm>
              <a:off x="4222" y="2385"/>
              <a:ext cx="78" cy="108"/>
            </a:xfrm>
            <a:custGeom>
              <a:avLst/>
              <a:gdLst>
                <a:gd name="T0" fmla="*/ 66 w 78"/>
                <a:gd name="T1" fmla="*/ 10 h 108"/>
                <a:gd name="T2" fmla="*/ 54 w 78"/>
                <a:gd name="T3" fmla="*/ 13 h 108"/>
                <a:gd name="T4" fmla="*/ 31 w 78"/>
                <a:gd name="T5" fmla="*/ 6 h 108"/>
                <a:gd name="T6" fmla="*/ 20 w 78"/>
                <a:gd name="T7" fmla="*/ 12 h 108"/>
                <a:gd name="T8" fmla="*/ 18 w 78"/>
                <a:gd name="T9" fmla="*/ 11 h 108"/>
                <a:gd name="T10" fmla="*/ 16 w 78"/>
                <a:gd name="T11" fmla="*/ 14 h 108"/>
                <a:gd name="T12" fmla="*/ 9 w 78"/>
                <a:gd name="T13" fmla="*/ 23 h 108"/>
                <a:gd name="T14" fmla="*/ 12 w 78"/>
                <a:gd name="T15" fmla="*/ 31 h 108"/>
                <a:gd name="T16" fmla="*/ 9 w 78"/>
                <a:gd name="T17" fmla="*/ 36 h 108"/>
                <a:gd name="T18" fmla="*/ 6 w 78"/>
                <a:gd name="T19" fmla="*/ 39 h 108"/>
                <a:gd name="T20" fmla="*/ 6 w 78"/>
                <a:gd name="T21" fmla="*/ 49 h 108"/>
                <a:gd name="T22" fmla="*/ 3 w 78"/>
                <a:gd name="T23" fmla="*/ 60 h 108"/>
                <a:gd name="T24" fmla="*/ 0 w 78"/>
                <a:gd name="T25" fmla="*/ 75 h 108"/>
                <a:gd name="T26" fmla="*/ 3 w 78"/>
                <a:gd name="T27" fmla="*/ 76 h 108"/>
                <a:gd name="T28" fmla="*/ 6 w 78"/>
                <a:gd name="T29" fmla="*/ 93 h 108"/>
                <a:gd name="T30" fmla="*/ 18 w 78"/>
                <a:gd name="T31" fmla="*/ 106 h 108"/>
                <a:gd name="T32" fmla="*/ 22 w 78"/>
                <a:gd name="T33" fmla="*/ 100 h 108"/>
                <a:gd name="T34" fmla="*/ 19 w 78"/>
                <a:gd name="T35" fmla="*/ 87 h 108"/>
                <a:gd name="T36" fmla="*/ 21 w 78"/>
                <a:gd name="T37" fmla="*/ 81 h 108"/>
                <a:gd name="T38" fmla="*/ 25 w 78"/>
                <a:gd name="T39" fmla="*/ 72 h 108"/>
                <a:gd name="T40" fmla="*/ 30 w 78"/>
                <a:gd name="T41" fmla="*/ 77 h 108"/>
                <a:gd name="T42" fmla="*/ 35 w 78"/>
                <a:gd name="T43" fmla="*/ 96 h 108"/>
                <a:gd name="T44" fmla="*/ 39 w 78"/>
                <a:gd name="T45" fmla="*/ 100 h 108"/>
                <a:gd name="T46" fmla="*/ 43 w 78"/>
                <a:gd name="T47" fmla="*/ 97 h 108"/>
                <a:gd name="T48" fmla="*/ 52 w 78"/>
                <a:gd name="T49" fmla="*/ 91 h 108"/>
                <a:gd name="T50" fmla="*/ 54 w 78"/>
                <a:gd name="T51" fmla="*/ 89 h 108"/>
                <a:gd name="T52" fmla="*/ 47 w 78"/>
                <a:gd name="T53" fmla="*/ 84 h 108"/>
                <a:gd name="T54" fmla="*/ 45 w 78"/>
                <a:gd name="T55" fmla="*/ 79 h 108"/>
                <a:gd name="T56" fmla="*/ 47 w 78"/>
                <a:gd name="T57" fmla="*/ 76 h 108"/>
                <a:gd name="T58" fmla="*/ 45 w 78"/>
                <a:gd name="T59" fmla="*/ 73 h 108"/>
                <a:gd name="T60" fmla="*/ 39 w 78"/>
                <a:gd name="T61" fmla="*/ 70 h 108"/>
                <a:gd name="T62" fmla="*/ 38 w 78"/>
                <a:gd name="T63" fmla="*/ 62 h 108"/>
                <a:gd name="T64" fmla="*/ 29 w 78"/>
                <a:gd name="T65" fmla="*/ 58 h 108"/>
                <a:gd name="T66" fmla="*/ 34 w 78"/>
                <a:gd name="T67" fmla="*/ 54 h 108"/>
                <a:gd name="T68" fmla="*/ 40 w 78"/>
                <a:gd name="T69" fmla="*/ 54 h 108"/>
                <a:gd name="T70" fmla="*/ 46 w 78"/>
                <a:gd name="T71" fmla="*/ 48 h 108"/>
                <a:gd name="T72" fmla="*/ 49 w 78"/>
                <a:gd name="T73" fmla="*/ 53 h 108"/>
                <a:gd name="T74" fmla="*/ 55 w 78"/>
                <a:gd name="T75" fmla="*/ 50 h 108"/>
                <a:gd name="T76" fmla="*/ 50 w 78"/>
                <a:gd name="T77" fmla="*/ 46 h 108"/>
                <a:gd name="T78" fmla="*/ 52 w 78"/>
                <a:gd name="T79" fmla="*/ 42 h 108"/>
                <a:gd name="T80" fmla="*/ 44 w 78"/>
                <a:gd name="T81" fmla="*/ 37 h 108"/>
                <a:gd name="T82" fmla="*/ 32 w 78"/>
                <a:gd name="T83" fmla="*/ 38 h 108"/>
                <a:gd name="T84" fmla="*/ 26 w 78"/>
                <a:gd name="T85" fmla="*/ 41 h 108"/>
                <a:gd name="T86" fmla="*/ 22 w 78"/>
                <a:gd name="T87" fmla="*/ 20 h 108"/>
                <a:gd name="T88" fmla="*/ 54 w 78"/>
                <a:gd name="T89" fmla="*/ 22 h 108"/>
                <a:gd name="T90" fmla="*/ 70 w 78"/>
                <a:gd name="T91" fmla="*/ 20 h 108"/>
                <a:gd name="T92" fmla="*/ 75 w 78"/>
                <a:gd name="T93" fmla="*/ 11 h 108"/>
                <a:gd name="T94" fmla="*/ 78 w 78"/>
                <a:gd name="T95" fmla="*/ 3 h 108"/>
                <a:gd name="T96" fmla="*/ 77 w 78"/>
                <a:gd name="T97" fmla="*/ 0 h 10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8"/>
                <a:gd name="T148" fmla="*/ 0 h 108"/>
                <a:gd name="T149" fmla="*/ 78 w 78"/>
                <a:gd name="T150" fmla="*/ 108 h 10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8" h="108">
                  <a:moveTo>
                    <a:pt x="73" y="1"/>
                  </a:moveTo>
                  <a:lnTo>
                    <a:pt x="69" y="6"/>
                  </a:lnTo>
                  <a:lnTo>
                    <a:pt x="66" y="10"/>
                  </a:lnTo>
                  <a:lnTo>
                    <a:pt x="64" y="11"/>
                  </a:lnTo>
                  <a:lnTo>
                    <a:pt x="62" y="12"/>
                  </a:lnTo>
                  <a:lnTo>
                    <a:pt x="54" y="13"/>
                  </a:lnTo>
                  <a:lnTo>
                    <a:pt x="46" y="13"/>
                  </a:lnTo>
                  <a:lnTo>
                    <a:pt x="31" y="10"/>
                  </a:lnTo>
                  <a:lnTo>
                    <a:pt x="31" y="6"/>
                  </a:lnTo>
                  <a:lnTo>
                    <a:pt x="28" y="7"/>
                  </a:lnTo>
                  <a:lnTo>
                    <a:pt x="25" y="9"/>
                  </a:lnTo>
                  <a:lnTo>
                    <a:pt x="20" y="12"/>
                  </a:lnTo>
                  <a:lnTo>
                    <a:pt x="19" y="12"/>
                  </a:lnTo>
                  <a:lnTo>
                    <a:pt x="18" y="12"/>
                  </a:lnTo>
                  <a:lnTo>
                    <a:pt x="18" y="11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14"/>
                  </a:lnTo>
                  <a:lnTo>
                    <a:pt x="10" y="18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10" y="25"/>
                  </a:lnTo>
                  <a:lnTo>
                    <a:pt x="10" y="27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1" y="35"/>
                  </a:lnTo>
                  <a:lnTo>
                    <a:pt x="9" y="36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42"/>
                  </a:lnTo>
                  <a:lnTo>
                    <a:pt x="6" y="46"/>
                  </a:lnTo>
                  <a:lnTo>
                    <a:pt x="6" y="49"/>
                  </a:lnTo>
                  <a:lnTo>
                    <a:pt x="6" y="53"/>
                  </a:lnTo>
                  <a:lnTo>
                    <a:pt x="5" y="56"/>
                  </a:lnTo>
                  <a:lnTo>
                    <a:pt x="3" y="60"/>
                  </a:lnTo>
                  <a:lnTo>
                    <a:pt x="1" y="65"/>
                  </a:lnTo>
                  <a:lnTo>
                    <a:pt x="1" y="68"/>
                  </a:lnTo>
                  <a:lnTo>
                    <a:pt x="0" y="75"/>
                  </a:lnTo>
                  <a:lnTo>
                    <a:pt x="0" y="76"/>
                  </a:lnTo>
                  <a:lnTo>
                    <a:pt x="1" y="76"/>
                  </a:lnTo>
                  <a:lnTo>
                    <a:pt x="3" y="76"/>
                  </a:lnTo>
                  <a:lnTo>
                    <a:pt x="6" y="76"/>
                  </a:lnTo>
                  <a:lnTo>
                    <a:pt x="8" y="78"/>
                  </a:lnTo>
                  <a:lnTo>
                    <a:pt x="6" y="93"/>
                  </a:lnTo>
                  <a:lnTo>
                    <a:pt x="4" y="108"/>
                  </a:lnTo>
                  <a:lnTo>
                    <a:pt x="12" y="107"/>
                  </a:lnTo>
                  <a:lnTo>
                    <a:pt x="18" y="106"/>
                  </a:lnTo>
                  <a:lnTo>
                    <a:pt x="20" y="105"/>
                  </a:lnTo>
                  <a:lnTo>
                    <a:pt x="21" y="103"/>
                  </a:lnTo>
                  <a:lnTo>
                    <a:pt x="22" y="100"/>
                  </a:lnTo>
                  <a:lnTo>
                    <a:pt x="22" y="95"/>
                  </a:lnTo>
                  <a:lnTo>
                    <a:pt x="18" y="89"/>
                  </a:lnTo>
                  <a:lnTo>
                    <a:pt x="19" y="87"/>
                  </a:lnTo>
                  <a:lnTo>
                    <a:pt x="19" y="86"/>
                  </a:lnTo>
                  <a:lnTo>
                    <a:pt x="20" y="87"/>
                  </a:lnTo>
                  <a:lnTo>
                    <a:pt x="21" y="81"/>
                  </a:lnTo>
                  <a:lnTo>
                    <a:pt x="22" y="77"/>
                  </a:lnTo>
                  <a:lnTo>
                    <a:pt x="24" y="74"/>
                  </a:lnTo>
                  <a:lnTo>
                    <a:pt x="25" y="72"/>
                  </a:lnTo>
                  <a:lnTo>
                    <a:pt x="26" y="72"/>
                  </a:lnTo>
                  <a:lnTo>
                    <a:pt x="27" y="73"/>
                  </a:lnTo>
                  <a:lnTo>
                    <a:pt x="30" y="77"/>
                  </a:lnTo>
                  <a:lnTo>
                    <a:pt x="32" y="83"/>
                  </a:lnTo>
                  <a:lnTo>
                    <a:pt x="33" y="90"/>
                  </a:lnTo>
                  <a:lnTo>
                    <a:pt x="35" y="96"/>
                  </a:lnTo>
                  <a:lnTo>
                    <a:pt x="35" y="101"/>
                  </a:lnTo>
                  <a:lnTo>
                    <a:pt x="37" y="100"/>
                  </a:lnTo>
                  <a:lnTo>
                    <a:pt x="39" y="100"/>
                  </a:lnTo>
                  <a:lnTo>
                    <a:pt x="41" y="101"/>
                  </a:lnTo>
                  <a:lnTo>
                    <a:pt x="43" y="101"/>
                  </a:lnTo>
                  <a:lnTo>
                    <a:pt x="43" y="97"/>
                  </a:lnTo>
                  <a:lnTo>
                    <a:pt x="43" y="93"/>
                  </a:lnTo>
                  <a:lnTo>
                    <a:pt x="48" y="92"/>
                  </a:lnTo>
                  <a:lnTo>
                    <a:pt x="52" y="91"/>
                  </a:lnTo>
                  <a:lnTo>
                    <a:pt x="54" y="92"/>
                  </a:lnTo>
                  <a:lnTo>
                    <a:pt x="54" y="91"/>
                  </a:lnTo>
                  <a:lnTo>
                    <a:pt x="54" y="89"/>
                  </a:lnTo>
                  <a:lnTo>
                    <a:pt x="52" y="87"/>
                  </a:lnTo>
                  <a:lnTo>
                    <a:pt x="49" y="85"/>
                  </a:lnTo>
                  <a:lnTo>
                    <a:pt x="47" y="84"/>
                  </a:lnTo>
                  <a:lnTo>
                    <a:pt x="45" y="81"/>
                  </a:lnTo>
                  <a:lnTo>
                    <a:pt x="44" y="80"/>
                  </a:lnTo>
                  <a:lnTo>
                    <a:pt x="45" y="79"/>
                  </a:lnTo>
                  <a:lnTo>
                    <a:pt x="45" y="78"/>
                  </a:lnTo>
                  <a:lnTo>
                    <a:pt x="46" y="77"/>
                  </a:lnTo>
                  <a:lnTo>
                    <a:pt x="47" y="76"/>
                  </a:lnTo>
                  <a:lnTo>
                    <a:pt x="47" y="75"/>
                  </a:lnTo>
                  <a:lnTo>
                    <a:pt x="47" y="74"/>
                  </a:lnTo>
                  <a:lnTo>
                    <a:pt x="45" y="73"/>
                  </a:lnTo>
                  <a:lnTo>
                    <a:pt x="43" y="72"/>
                  </a:lnTo>
                  <a:lnTo>
                    <a:pt x="40" y="71"/>
                  </a:lnTo>
                  <a:lnTo>
                    <a:pt x="39" y="70"/>
                  </a:lnTo>
                  <a:lnTo>
                    <a:pt x="38" y="67"/>
                  </a:lnTo>
                  <a:lnTo>
                    <a:pt x="38" y="65"/>
                  </a:lnTo>
                  <a:lnTo>
                    <a:pt x="38" y="62"/>
                  </a:lnTo>
                  <a:lnTo>
                    <a:pt x="38" y="61"/>
                  </a:lnTo>
                  <a:lnTo>
                    <a:pt x="37" y="60"/>
                  </a:lnTo>
                  <a:lnTo>
                    <a:pt x="29" y="58"/>
                  </a:lnTo>
                  <a:lnTo>
                    <a:pt x="29" y="54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6" y="55"/>
                  </a:lnTo>
                  <a:lnTo>
                    <a:pt x="39" y="54"/>
                  </a:lnTo>
                  <a:lnTo>
                    <a:pt x="40" y="54"/>
                  </a:lnTo>
                  <a:lnTo>
                    <a:pt x="41" y="53"/>
                  </a:lnTo>
                  <a:lnTo>
                    <a:pt x="44" y="50"/>
                  </a:lnTo>
                  <a:lnTo>
                    <a:pt x="46" y="48"/>
                  </a:lnTo>
                  <a:lnTo>
                    <a:pt x="47" y="47"/>
                  </a:lnTo>
                  <a:lnTo>
                    <a:pt x="49" y="47"/>
                  </a:lnTo>
                  <a:lnTo>
                    <a:pt x="49" y="53"/>
                  </a:lnTo>
                  <a:lnTo>
                    <a:pt x="51" y="52"/>
                  </a:lnTo>
                  <a:lnTo>
                    <a:pt x="52" y="51"/>
                  </a:lnTo>
                  <a:lnTo>
                    <a:pt x="55" y="50"/>
                  </a:lnTo>
                  <a:lnTo>
                    <a:pt x="58" y="51"/>
                  </a:lnTo>
                  <a:lnTo>
                    <a:pt x="52" y="47"/>
                  </a:lnTo>
                  <a:lnTo>
                    <a:pt x="50" y="46"/>
                  </a:lnTo>
                  <a:lnTo>
                    <a:pt x="50" y="45"/>
                  </a:lnTo>
                  <a:lnTo>
                    <a:pt x="51" y="44"/>
                  </a:lnTo>
                  <a:lnTo>
                    <a:pt x="52" y="42"/>
                  </a:lnTo>
                  <a:lnTo>
                    <a:pt x="56" y="37"/>
                  </a:lnTo>
                  <a:lnTo>
                    <a:pt x="49" y="37"/>
                  </a:lnTo>
                  <a:lnTo>
                    <a:pt x="44" y="37"/>
                  </a:lnTo>
                  <a:lnTo>
                    <a:pt x="39" y="36"/>
                  </a:lnTo>
                  <a:lnTo>
                    <a:pt x="33" y="37"/>
                  </a:lnTo>
                  <a:lnTo>
                    <a:pt x="32" y="38"/>
                  </a:lnTo>
                  <a:lnTo>
                    <a:pt x="31" y="40"/>
                  </a:lnTo>
                  <a:lnTo>
                    <a:pt x="29" y="41"/>
                  </a:lnTo>
                  <a:lnTo>
                    <a:pt x="26" y="41"/>
                  </a:lnTo>
                  <a:lnTo>
                    <a:pt x="26" y="37"/>
                  </a:lnTo>
                  <a:lnTo>
                    <a:pt x="20" y="37"/>
                  </a:lnTo>
                  <a:lnTo>
                    <a:pt x="22" y="20"/>
                  </a:lnTo>
                  <a:lnTo>
                    <a:pt x="34" y="21"/>
                  </a:lnTo>
                  <a:lnTo>
                    <a:pt x="47" y="22"/>
                  </a:lnTo>
                  <a:lnTo>
                    <a:pt x="54" y="22"/>
                  </a:lnTo>
                  <a:lnTo>
                    <a:pt x="60" y="22"/>
                  </a:lnTo>
                  <a:lnTo>
                    <a:pt x="65" y="22"/>
                  </a:lnTo>
                  <a:lnTo>
                    <a:pt x="70" y="20"/>
                  </a:lnTo>
                  <a:lnTo>
                    <a:pt x="70" y="18"/>
                  </a:lnTo>
                  <a:lnTo>
                    <a:pt x="73" y="14"/>
                  </a:lnTo>
                  <a:lnTo>
                    <a:pt x="75" y="11"/>
                  </a:lnTo>
                  <a:lnTo>
                    <a:pt x="77" y="7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78" y="2"/>
                  </a:lnTo>
                  <a:lnTo>
                    <a:pt x="78" y="1"/>
                  </a:lnTo>
                  <a:lnTo>
                    <a:pt x="77" y="0"/>
                  </a:lnTo>
                  <a:lnTo>
                    <a:pt x="75" y="0"/>
                  </a:lnTo>
                  <a:lnTo>
                    <a:pt x="73" y="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Freeform 22"/>
            <p:cNvSpPr>
              <a:spLocks/>
            </p:cNvSpPr>
            <p:nvPr/>
          </p:nvSpPr>
          <p:spPr bwMode="auto">
            <a:xfrm>
              <a:off x="4056" y="2495"/>
              <a:ext cx="119" cy="46"/>
            </a:xfrm>
            <a:custGeom>
              <a:avLst/>
              <a:gdLst>
                <a:gd name="T0" fmla="*/ 5 w 119"/>
                <a:gd name="T1" fmla="*/ 5 h 46"/>
                <a:gd name="T2" fmla="*/ 0 w 119"/>
                <a:gd name="T3" fmla="*/ 17 h 46"/>
                <a:gd name="T4" fmla="*/ 6 w 119"/>
                <a:gd name="T5" fmla="*/ 18 h 46"/>
                <a:gd name="T6" fmla="*/ 11 w 119"/>
                <a:gd name="T7" fmla="*/ 22 h 46"/>
                <a:gd name="T8" fmla="*/ 11 w 119"/>
                <a:gd name="T9" fmla="*/ 25 h 46"/>
                <a:gd name="T10" fmla="*/ 16 w 119"/>
                <a:gd name="T11" fmla="*/ 26 h 46"/>
                <a:gd name="T12" fmla="*/ 24 w 119"/>
                <a:gd name="T13" fmla="*/ 24 h 46"/>
                <a:gd name="T14" fmla="*/ 28 w 119"/>
                <a:gd name="T15" fmla="*/ 25 h 46"/>
                <a:gd name="T16" fmla="*/ 32 w 119"/>
                <a:gd name="T17" fmla="*/ 30 h 46"/>
                <a:gd name="T18" fmla="*/ 39 w 119"/>
                <a:gd name="T19" fmla="*/ 31 h 46"/>
                <a:gd name="T20" fmla="*/ 49 w 119"/>
                <a:gd name="T21" fmla="*/ 29 h 46"/>
                <a:gd name="T22" fmla="*/ 55 w 119"/>
                <a:gd name="T23" fmla="*/ 29 h 46"/>
                <a:gd name="T24" fmla="*/ 64 w 119"/>
                <a:gd name="T25" fmla="*/ 33 h 46"/>
                <a:gd name="T26" fmla="*/ 72 w 119"/>
                <a:gd name="T27" fmla="*/ 37 h 46"/>
                <a:gd name="T28" fmla="*/ 87 w 119"/>
                <a:gd name="T29" fmla="*/ 37 h 46"/>
                <a:gd name="T30" fmla="*/ 99 w 119"/>
                <a:gd name="T31" fmla="*/ 37 h 46"/>
                <a:gd name="T32" fmla="*/ 103 w 119"/>
                <a:gd name="T33" fmla="*/ 40 h 46"/>
                <a:gd name="T34" fmla="*/ 107 w 119"/>
                <a:gd name="T35" fmla="*/ 44 h 46"/>
                <a:gd name="T36" fmla="*/ 113 w 119"/>
                <a:gd name="T37" fmla="*/ 45 h 46"/>
                <a:gd name="T38" fmla="*/ 115 w 119"/>
                <a:gd name="T39" fmla="*/ 42 h 46"/>
                <a:gd name="T40" fmla="*/ 113 w 119"/>
                <a:gd name="T41" fmla="*/ 36 h 46"/>
                <a:gd name="T42" fmla="*/ 115 w 119"/>
                <a:gd name="T43" fmla="*/ 29 h 46"/>
                <a:gd name="T44" fmla="*/ 111 w 119"/>
                <a:gd name="T45" fmla="*/ 27 h 46"/>
                <a:gd name="T46" fmla="*/ 94 w 119"/>
                <a:gd name="T47" fmla="*/ 25 h 46"/>
                <a:gd name="T48" fmla="*/ 96 w 119"/>
                <a:gd name="T49" fmla="*/ 19 h 46"/>
                <a:gd name="T50" fmla="*/ 94 w 119"/>
                <a:gd name="T51" fmla="*/ 15 h 46"/>
                <a:gd name="T52" fmla="*/ 87 w 119"/>
                <a:gd name="T53" fmla="*/ 11 h 46"/>
                <a:gd name="T54" fmla="*/ 76 w 119"/>
                <a:gd name="T55" fmla="*/ 10 h 46"/>
                <a:gd name="T56" fmla="*/ 72 w 119"/>
                <a:gd name="T57" fmla="*/ 9 h 46"/>
                <a:gd name="T58" fmla="*/ 70 w 119"/>
                <a:gd name="T59" fmla="*/ 6 h 46"/>
                <a:gd name="T60" fmla="*/ 65 w 119"/>
                <a:gd name="T61" fmla="*/ 12 h 46"/>
                <a:gd name="T62" fmla="*/ 50 w 119"/>
                <a:gd name="T63" fmla="*/ 11 h 46"/>
                <a:gd name="T64" fmla="*/ 45 w 119"/>
                <a:gd name="T65" fmla="*/ 8 h 46"/>
                <a:gd name="T66" fmla="*/ 39 w 119"/>
                <a:gd name="T67" fmla="*/ 3 h 46"/>
                <a:gd name="T68" fmla="*/ 34 w 119"/>
                <a:gd name="T69" fmla="*/ 0 h 46"/>
                <a:gd name="T70" fmla="*/ 30 w 119"/>
                <a:gd name="T71" fmla="*/ 0 h 46"/>
                <a:gd name="T72" fmla="*/ 21 w 119"/>
                <a:gd name="T73" fmla="*/ 3 h 46"/>
                <a:gd name="T74" fmla="*/ 17 w 119"/>
                <a:gd name="T75" fmla="*/ 4 h 46"/>
                <a:gd name="T76" fmla="*/ 12 w 119"/>
                <a:gd name="T77" fmla="*/ 2 h 46"/>
                <a:gd name="T78" fmla="*/ 7 w 119"/>
                <a:gd name="T79" fmla="*/ 0 h 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19"/>
                <a:gd name="T121" fmla="*/ 0 h 46"/>
                <a:gd name="T122" fmla="*/ 119 w 119"/>
                <a:gd name="T123" fmla="*/ 46 h 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19" h="46">
                  <a:moveTo>
                    <a:pt x="7" y="0"/>
                  </a:moveTo>
                  <a:lnTo>
                    <a:pt x="5" y="5"/>
                  </a:lnTo>
                  <a:lnTo>
                    <a:pt x="4" y="9"/>
                  </a:lnTo>
                  <a:lnTo>
                    <a:pt x="0" y="17"/>
                  </a:lnTo>
                  <a:lnTo>
                    <a:pt x="3" y="18"/>
                  </a:lnTo>
                  <a:lnTo>
                    <a:pt x="6" y="18"/>
                  </a:lnTo>
                  <a:lnTo>
                    <a:pt x="13" y="19"/>
                  </a:lnTo>
                  <a:lnTo>
                    <a:pt x="11" y="22"/>
                  </a:lnTo>
                  <a:lnTo>
                    <a:pt x="11" y="24"/>
                  </a:lnTo>
                  <a:lnTo>
                    <a:pt x="11" y="25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20" y="25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8" y="25"/>
                  </a:lnTo>
                  <a:lnTo>
                    <a:pt x="28" y="29"/>
                  </a:lnTo>
                  <a:lnTo>
                    <a:pt x="32" y="30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44" y="30"/>
                  </a:lnTo>
                  <a:lnTo>
                    <a:pt x="49" y="29"/>
                  </a:lnTo>
                  <a:lnTo>
                    <a:pt x="52" y="29"/>
                  </a:lnTo>
                  <a:lnTo>
                    <a:pt x="55" y="29"/>
                  </a:lnTo>
                  <a:lnTo>
                    <a:pt x="59" y="30"/>
                  </a:lnTo>
                  <a:lnTo>
                    <a:pt x="64" y="33"/>
                  </a:lnTo>
                  <a:lnTo>
                    <a:pt x="69" y="35"/>
                  </a:lnTo>
                  <a:lnTo>
                    <a:pt x="72" y="37"/>
                  </a:lnTo>
                  <a:lnTo>
                    <a:pt x="80" y="37"/>
                  </a:lnTo>
                  <a:lnTo>
                    <a:pt x="87" y="37"/>
                  </a:lnTo>
                  <a:lnTo>
                    <a:pt x="94" y="36"/>
                  </a:lnTo>
                  <a:lnTo>
                    <a:pt x="99" y="37"/>
                  </a:lnTo>
                  <a:lnTo>
                    <a:pt x="101" y="38"/>
                  </a:lnTo>
                  <a:lnTo>
                    <a:pt x="103" y="40"/>
                  </a:lnTo>
                  <a:lnTo>
                    <a:pt x="105" y="43"/>
                  </a:lnTo>
                  <a:lnTo>
                    <a:pt x="107" y="44"/>
                  </a:lnTo>
                  <a:lnTo>
                    <a:pt x="110" y="45"/>
                  </a:lnTo>
                  <a:lnTo>
                    <a:pt x="113" y="45"/>
                  </a:lnTo>
                  <a:lnTo>
                    <a:pt x="119" y="46"/>
                  </a:lnTo>
                  <a:lnTo>
                    <a:pt x="115" y="42"/>
                  </a:lnTo>
                  <a:lnTo>
                    <a:pt x="113" y="39"/>
                  </a:lnTo>
                  <a:lnTo>
                    <a:pt x="113" y="36"/>
                  </a:lnTo>
                  <a:lnTo>
                    <a:pt x="113" y="34"/>
                  </a:lnTo>
                  <a:lnTo>
                    <a:pt x="115" y="29"/>
                  </a:lnTo>
                  <a:lnTo>
                    <a:pt x="113" y="28"/>
                  </a:lnTo>
                  <a:lnTo>
                    <a:pt x="111" y="27"/>
                  </a:lnTo>
                  <a:lnTo>
                    <a:pt x="109" y="25"/>
                  </a:lnTo>
                  <a:lnTo>
                    <a:pt x="94" y="25"/>
                  </a:lnTo>
                  <a:lnTo>
                    <a:pt x="95" y="21"/>
                  </a:lnTo>
                  <a:lnTo>
                    <a:pt x="96" y="19"/>
                  </a:lnTo>
                  <a:lnTo>
                    <a:pt x="96" y="17"/>
                  </a:lnTo>
                  <a:lnTo>
                    <a:pt x="94" y="15"/>
                  </a:lnTo>
                  <a:lnTo>
                    <a:pt x="94" y="12"/>
                  </a:lnTo>
                  <a:lnTo>
                    <a:pt x="87" y="11"/>
                  </a:lnTo>
                  <a:lnTo>
                    <a:pt x="81" y="10"/>
                  </a:lnTo>
                  <a:lnTo>
                    <a:pt x="76" y="10"/>
                  </a:lnTo>
                  <a:lnTo>
                    <a:pt x="72" y="10"/>
                  </a:lnTo>
                  <a:lnTo>
                    <a:pt x="72" y="9"/>
                  </a:lnTo>
                  <a:lnTo>
                    <a:pt x="71" y="8"/>
                  </a:lnTo>
                  <a:lnTo>
                    <a:pt x="70" y="6"/>
                  </a:lnTo>
                  <a:lnTo>
                    <a:pt x="69" y="6"/>
                  </a:lnTo>
                  <a:lnTo>
                    <a:pt x="65" y="12"/>
                  </a:lnTo>
                  <a:lnTo>
                    <a:pt x="53" y="12"/>
                  </a:lnTo>
                  <a:lnTo>
                    <a:pt x="50" y="11"/>
                  </a:lnTo>
                  <a:lnTo>
                    <a:pt x="48" y="10"/>
                  </a:lnTo>
                  <a:lnTo>
                    <a:pt x="45" y="8"/>
                  </a:lnTo>
                  <a:lnTo>
                    <a:pt x="43" y="6"/>
                  </a:lnTo>
                  <a:lnTo>
                    <a:pt x="39" y="3"/>
                  </a:lnTo>
                  <a:lnTo>
                    <a:pt x="37" y="1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6" y="2"/>
                  </a:lnTo>
                  <a:lnTo>
                    <a:pt x="21" y="3"/>
                  </a:lnTo>
                  <a:lnTo>
                    <a:pt x="19" y="4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2" y="2"/>
                  </a:lnTo>
                  <a:lnTo>
                    <a:pt x="10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2" name="Freeform 23"/>
            <p:cNvSpPr>
              <a:spLocks/>
            </p:cNvSpPr>
            <p:nvPr/>
          </p:nvSpPr>
          <p:spPr bwMode="auto">
            <a:xfrm>
              <a:off x="3273" y="2605"/>
              <a:ext cx="95" cy="209"/>
            </a:xfrm>
            <a:custGeom>
              <a:avLst/>
              <a:gdLst>
                <a:gd name="T0" fmla="*/ 72 w 95"/>
                <a:gd name="T1" fmla="*/ 25 h 209"/>
                <a:gd name="T2" fmla="*/ 63 w 95"/>
                <a:gd name="T3" fmla="*/ 26 h 209"/>
                <a:gd name="T4" fmla="*/ 65 w 95"/>
                <a:gd name="T5" fmla="*/ 32 h 209"/>
                <a:gd name="T6" fmla="*/ 61 w 95"/>
                <a:gd name="T7" fmla="*/ 34 h 209"/>
                <a:gd name="T8" fmla="*/ 59 w 95"/>
                <a:gd name="T9" fmla="*/ 44 h 209"/>
                <a:gd name="T10" fmla="*/ 56 w 95"/>
                <a:gd name="T11" fmla="*/ 41 h 209"/>
                <a:gd name="T12" fmla="*/ 53 w 95"/>
                <a:gd name="T13" fmla="*/ 51 h 209"/>
                <a:gd name="T14" fmla="*/ 49 w 95"/>
                <a:gd name="T15" fmla="*/ 50 h 209"/>
                <a:gd name="T16" fmla="*/ 44 w 95"/>
                <a:gd name="T17" fmla="*/ 55 h 209"/>
                <a:gd name="T18" fmla="*/ 38 w 95"/>
                <a:gd name="T19" fmla="*/ 55 h 209"/>
                <a:gd name="T20" fmla="*/ 34 w 95"/>
                <a:gd name="T21" fmla="*/ 53 h 209"/>
                <a:gd name="T22" fmla="*/ 20 w 95"/>
                <a:gd name="T23" fmla="*/ 65 h 209"/>
                <a:gd name="T24" fmla="*/ 12 w 95"/>
                <a:gd name="T25" fmla="*/ 73 h 209"/>
                <a:gd name="T26" fmla="*/ 11 w 95"/>
                <a:gd name="T27" fmla="*/ 82 h 209"/>
                <a:gd name="T28" fmla="*/ 15 w 95"/>
                <a:gd name="T29" fmla="*/ 98 h 209"/>
                <a:gd name="T30" fmla="*/ 19 w 95"/>
                <a:gd name="T31" fmla="*/ 113 h 209"/>
                <a:gd name="T32" fmla="*/ 17 w 95"/>
                <a:gd name="T33" fmla="*/ 120 h 209"/>
                <a:gd name="T34" fmla="*/ 9 w 95"/>
                <a:gd name="T35" fmla="*/ 128 h 209"/>
                <a:gd name="T36" fmla="*/ 9 w 95"/>
                <a:gd name="T37" fmla="*/ 136 h 209"/>
                <a:gd name="T38" fmla="*/ 1 w 95"/>
                <a:gd name="T39" fmla="*/ 147 h 209"/>
                <a:gd name="T40" fmla="*/ 1 w 95"/>
                <a:gd name="T41" fmla="*/ 163 h 209"/>
                <a:gd name="T42" fmla="*/ 9 w 95"/>
                <a:gd name="T43" fmla="*/ 181 h 209"/>
                <a:gd name="T44" fmla="*/ 16 w 95"/>
                <a:gd name="T45" fmla="*/ 198 h 209"/>
                <a:gd name="T46" fmla="*/ 20 w 95"/>
                <a:gd name="T47" fmla="*/ 203 h 209"/>
                <a:gd name="T48" fmla="*/ 31 w 95"/>
                <a:gd name="T49" fmla="*/ 209 h 209"/>
                <a:gd name="T50" fmla="*/ 43 w 95"/>
                <a:gd name="T51" fmla="*/ 204 h 209"/>
                <a:gd name="T52" fmla="*/ 51 w 95"/>
                <a:gd name="T53" fmla="*/ 198 h 209"/>
                <a:gd name="T54" fmla="*/ 55 w 95"/>
                <a:gd name="T55" fmla="*/ 187 h 209"/>
                <a:gd name="T56" fmla="*/ 61 w 95"/>
                <a:gd name="T57" fmla="*/ 163 h 209"/>
                <a:gd name="T58" fmla="*/ 71 w 95"/>
                <a:gd name="T59" fmla="*/ 134 h 209"/>
                <a:gd name="T60" fmla="*/ 71 w 95"/>
                <a:gd name="T61" fmla="*/ 121 h 209"/>
                <a:gd name="T62" fmla="*/ 75 w 95"/>
                <a:gd name="T63" fmla="*/ 109 h 209"/>
                <a:gd name="T64" fmla="*/ 84 w 95"/>
                <a:gd name="T65" fmla="*/ 88 h 209"/>
                <a:gd name="T66" fmla="*/ 86 w 95"/>
                <a:gd name="T67" fmla="*/ 78 h 209"/>
                <a:gd name="T68" fmla="*/ 86 w 95"/>
                <a:gd name="T69" fmla="*/ 71 h 209"/>
                <a:gd name="T70" fmla="*/ 90 w 95"/>
                <a:gd name="T71" fmla="*/ 65 h 209"/>
                <a:gd name="T72" fmla="*/ 84 w 95"/>
                <a:gd name="T73" fmla="*/ 50 h 209"/>
                <a:gd name="T74" fmla="*/ 90 w 95"/>
                <a:gd name="T75" fmla="*/ 55 h 209"/>
                <a:gd name="T76" fmla="*/ 93 w 95"/>
                <a:gd name="T77" fmla="*/ 51 h 209"/>
                <a:gd name="T78" fmla="*/ 95 w 95"/>
                <a:gd name="T79" fmla="*/ 40 h 209"/>
                <a:gd name="T80" fmla="*/ 92 w 95"/>
                <a:gd name="T81" fmla="*/ 18 h 209"/>
                <a:gd name="T82" fmla="*/ 88 w 95"/>
                <a:gd name="T83" fmla="*/ 8 h 209"/>
                <a:gd name="T84" fmla="*/ 84 w 95"/>
                <a:gd name="T85" fmla="*/ 9 h 20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209"/>
                <a:gd name="T131" fmla="*/ 95 w 95"/>
                <a:gd name="T132" fmla="*/ 209 h 20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209">
                  <a:moveTo>
                    <a:pt x="78" y="0"/>
                  </a:moveTo>
                  <a:lnTo>
                    <a:pt x="75" y="11"/>
                  </a:lnTo>
                  <a:lnTo>
                    <a:pt x="72" y="25"/>
                  </a:lnTo>
                  <a:lnTo>
                    <a:pt x="67" y="25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8"/>
                  </a:lnTo>
                  <a:lnTo>
                    <a:pt x="64" y="30"/>
                  </a:lnTo>
                  <a:lnTo>
                    <a:pt x="65" y="32"/>
                  </a:lnTo>
                  <a:lnTo>
                    <a:pt x="65" y="33"/>
                  </a:lnTo>
                  <a:lnTo>
                    <a:pt x="65" y="34"/>
                  </a:lnTo>
                  <a:lnTo>
                    <a:pt x="61" y="34"/>
                  </a:lnTo>
                  <a:lnTo>
                    <a:pt x="60" y="38"/>
                  </a:lnTo>
                  <a:lnTo>
                    <a:pt x="60" y="40"/>
                  </a:lnTo>
                  <a:lnTo>
                    <a:pt x="59" y="44"/>
                  </a:lnTo>
                  <a:lnTo>
                    <a:pt x="57" y="43"/>
                  </a:lnTo>
                  <a:lnTo>
                    <a:pt x="56" y="42"/>
                  </a:lnTo>
                  <a:lnTo>
                    <a:pt x="56" y="41"/>
                  </a:lnTo>
                  <a:lnTo>
                    <a:pt x="53" y="42"/>
                  </a:lnTo>
                  <a:lnTo>
                    <a:pt x="53" y="47"/>
                  </a:lnTo>
                  <a:lnTo>
                    <a:pt x="53" y="51"/>
                  </a:lnTo>
                  <a:lnTo>
                    <a:pt x="52" y="51"/>
                  </a:lnTo>
                  <a:lnTo>
                    <a:pt x="51" y="51"/>
                  </a:lnTo>
                  <a:lnTo>
                    <a:pt x="49" y="50"/>
                  </a:lnTo>
                  <a:lnTo>
                    <a:pt x="47" y="50"/>
                  </a:lnTo>
                  <a:lnTo>
                    <a:pt x="45" y="52"/>
                  </a:lnTo>
                  <a:lnTo>
                    <a:pt x="44" y="55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38" y="55"/>
                  </a:lnTo>
                  <a:lnTo>
                    <a:pt x="36" y="54"/>
                  </a:lnTo>
                  <a:lnTo>
                    <a:pt x="35" y="53"/>
                  </a:lnTo>
                  <a:lnTo>
                    <a:pt x="34" y="53"/>
                  </a:lnTo>
                  <a:lnTo>
                    <a:pt x="34" y="57"/>
                  </a:lnTo>
                  <a:lnTo>
                    <a:pt x="27" y="61"/>
                  </a:lnTo>
                  <a:lnTo>
                    <a:pt x="20" y="65"/>
                  </a:lnTo>
                  <a:lnTo>
                    <a:pt x="17" y="67"/>
                  </a:lnTo>
                  <a:lnTo>
                    <a:pt x="14" y="70"/>
                  </a:lnTo>
                  <a:lnTo>
                    <a:pt x="12" y="73"/>
                  </a:lnTo>
                  <a:lnTo>
                    <a:pt x="11" y="76"/>
                  </a:lnTo>
                  <a:lnTo>
                    <a:pt x="11" y="79"/>
                  </a:lnTo>
                  <a:lnTo>
                    <a:pt x="11" y="82"/>
                  </a:lnTo>
                  <a:lnTo>
                    <a:pt x="11" y="87"/>
                  </a:lnTo>
                  <a:lnTo>
                    <a:pt x="13" y="92"/>
                  </a:lnTo>
                  <a:lnTo>
                    <a:pt x="15" y="98"/>
                  </a:lnTo>
                  <a:lnTo>
                    <a:pt x="17" y="103"/>
                  </a:lnTo>
                  <a:lnTo>
                    <a:pt x="18" y="108"/>
                  </a:lnTo>
                  <a:lnTo>
                    <a:pt x="19" y="113"/>
                  </a:lnTo>
                  <a:lnTo>
                    <a:pt x="19" y="116"/>
                  </a:lnTo>
                  <a:lnTo>
                    <a:pt x="19" y="119"/>
                  </a:lnTo>
                  <a:lnTo>
                    <a:pt x="17" y="120"/>
                  </a:lnTo>
                  <a:lnTo>
                    <a:pt x="14" y="123"/>
                  </a:lnTo>
                  <a:lnTo>
                    <a:pt x="9" y="126"/>
                  </a:lnTo>
                  <a:lnTo>
                    <a:pt x="9" y="128"/>
                  </a:lnTo>
                  <a:lnTo>
                    <a:pt x="9" y="131"/>
                  </a:lnTo>
                  <a:lnTo>
                    <a:pt x="9" y="134"/>
                  </a:lnTo>
                  <a:lnTo>
                    <a:pt x="9" y="136"/>
                  </a:lnTo>
                  <a:lnTo>
                    <a:pt x="6" y="138"/>
                  </a:lnTo>
                  <a:lnTo>
                    <a:pt x="3" y="140"/>
                  </a:lnTo>
                  <a:lnTo>
                    <a:pt x="1" y="147"/>
                  </a:lnTo>
                  <a:lnTo>
                    <a:pt x="0" y="153"/>
                  </a:lnTo>
                  <a:lnTo>
                    <a:pt x="0" y="158"/>
                  </a:lnTo>
                  <a:lnTo>
                    <a:pt x="1" y="163"/>
                  </a:lnTo>
                  <a:lnTo>
                    <a:pt x="3" y="168"/>
                  </a:lnTo>
                  <a:lnTo>
                    <a:pt x="5" y="172"/>
                  </a:lnTo>
                  <a:lnTo>
                    <a:pt x="9" y="181"/>
                  </a:lnTo>
                  <a:lnTo>
                    <a:pt x="12" y="191"/>
                  </a:lnTo>
                  <a:lnTo>
                    <a:pt x="14" y="194"/>
                  </a:lnTo>
                  <a:lnTo>
                    <a:pt x="16" y="198"/>
                  </a:lnTo>
                  <a:lnTo>
                    <a:pt x="17" y="199"/>
                  </a:lnTo>
                  <a:lnTo>
                    <a:pt x="18" y="200"/>
                  </a:lnTo>
                  <a:lnTo>
                    <a:pt x="20" y="203"/>
                  </a:lnTo>
                  <a:lnTo>
                    <a:pt x="24" y="206"/>
                  </a:lnTo>
                  <a:lnTo>
                    <a:pt x="28" y="208"/>
                  </a:lnTo>
                  <a:lnTo>
                    <a:pt x="31" y="209"/>
                  </a:lnTo>
                  <a:lnTo>
                    <a:pt x="33" y="209"/>
                  </a:lnTo>
                  <a:lnTo>
                    <a:pt x="32" y="208"/>
                  </a:lnTo>
                  <a:lnTo>
                    <a:pt x="43" y="204"/>
                  </a:lnTo>
                  <a:lnTo>
                    <a:pt x="48" y="202"/>
                  </a:lnTo>
                  <a:lnTo>
                    <a:pt x="50" y="200"/>
                  </a:lnTo>
                  <a:lnTo>
                    <a:pt x="51" y="198"/>
                  </a:lnTo>
                  <a:lnTo>
                    <a:pt x="53" y="196"/>
                  </a:lnTo>
                  <a:lnTo>
                    <a:pt x="54" y="193"/>
                  </a:lnTo>
                  <a:lnTo>
                    <a:pt x="55" y="187"/>
                  </a:lnTo>
                  <a:lnTo>
                    <a:pt x="56" y="180"/>
                  </a:lnTo>
                  <a:lnTo>
                    <a:pt x="57" y="173"/>
                  </a:lnTo>
                  <a:lnTo>
                    <a:pt x="61" y="163"/>
                  </a:lnTo>
                  <a:lnTo>
                    <a:pt x="65" y="152"/>
                  </a:lnTo>
                  <a:lnTo>
                    <a:pt x="70" y="139"/>
                  </a:lnTo>
                  <a:lnTo>
                    <a:pt x="71" y="134"/>
                  </a:lnTo>
                  <a:lnTo>
                    <a:pt x="72" y="128"/>
                  </a:lnTo>
                  <a:lnTo>
                    <a:pt x="72" y="125"/>
                  </a:lnTo>
                  <a:lnTo>
                    <a:pt x="71" y="121"/>
                  </a:lnTo>
                  <a:lnTo>
                    <a:pt x="71" y="119"/>
                  </a:lnTo>
                  <a:lnTo>
                    <a:pt x="70" y="117"/>
                  </a:lnTo>
                  <a:lnTo>
                    <a:pt x="75" y="109"/>
                  </a:lnTo>
                  <a:lnTo>
                    <a:pt x="80" y="101"/>
                  </a:lnTo>
                  <a:lnTo>
                    <a:pt x="84" y="90"/>
                  </a:lnTo>
                  <a:lnTo>
                    <a:pt x="84" y="88"/>
                  </a:lnTo>
                  <a:lnTo>
                    <a:pt x="83" y="85"/>
                  </a:lnTo>
                  <a:lnTo>
                    <a:pt x="82" y="82"/>
                  </a:lnTo>
                  <a:lnTo>
                    <a:pt x="86" y="78"/>
                  </a:lnTo>
                  <a:lnTo>
                    <a:pt x="86" y="75"/>
                  </a:lnTo>
                  <a:lnTo>
                    <a:pt x="86" y="72"/>
                  </a:lnTo>
                  <a:lnTo>
                    <a:pt x="86" y="71"/>
                  </a:lnTo>
                  <a:lnTo>
                    <a:pt x="87" y="70"/>
                  </a:lnTo>
                  <a:lnTo>
                    <a:pt x="90" y="69"/>
                  </a:lnTo>
                  <a:lnTo>
                    <a:pt x="90" y="65"/>
                  </a:lnTo>
                  <a:lnTo>
                    <a:pt x="89" y="62"/>
                  </a:lnTo>
                  <a:lnTo>
                    <a:pt x="87" y="58"/>
                  </a:lnTo>
                  <a:lnTo>
                    <a:pt x="84" y="50"/>
                  </a:lnTo>
                  <a:lnTo>
                    <a:pt x="87" y="50"/>
                  </a:lnTo>
                  <a:lnTo>
                    <a:pt x="90" y="50"/>
                  </a:lnTo>
                  <a:lnTo>
                    <a:pt x="90" y="55"/>
                  </a:lnTo>
                  <a:lnTo>
                    <a:pt x="93" y="55"/>
                  </a:lnTo>
                  <a:lnTo>
                    <a:pt x="93" y="53"/>
                  </a:lnTo>
                  <a:lnTo>
                    <a:pt x="93" y="51"/>
                  </a:lnTo>
                  <a:lnTo>
                    <a:pt x="94" y="50"/>
                  </a:lnTo>
                  <a:lnTo>
                    <a:pt x="95" y="50"/>
                  </a:lnTo>
                  <a:lnTo>
                    <a:pt x="95" y="40"/>
                  </a:lnTo>
                  <a:lnTo>
                    <a:pt x="94" y="28"/>
                  </a:lnTo>
                  <a:lnTo>
                    <a:pt x="93" y="23"/>
                  </a:lnTo>
                  <a:lnTo>
                    <a:pt x="92" y="18"/>
                  </a:lnTo>
                  <a:lnTo>
                    <a:pt x="91" y="13"/>
                  </a:lnTo>
                  <a:lnTo>
                    <a:pt x="90" y="9"/>
                  </a:lnTo>
                  <a:lnTo>
                    <a:pt x="88" y="8"/>
                  </a:lnTo>
                  <a:lnTo>
                    <a:pt x="87" y="8"/>
                  </a:lnTo>
                  <a:lnTo>
                    <a:pt x="85" y="9"/>
                  </a:lnTo>
                  <a:lnTo>
                    <a:pt x="84" y="9"/>
                  </a:lnTo>
                  <a:lnTo>
                    <a:pt x="7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3" name="Freeform 24"/>
            <p:cNvSpPr>
              <a:spLocks/>
            </p:cNvSpPr>
            <p:nvPr/>
          </p:nvSpPr>
          <p:spPr bwMode="auto">
            <a:xfrm>
              <a:off x="4885" y="2965"/>
              <a:ext cx="76" cy="123"/>
            </a:xfrm>
            <a:custGeom>
              <a:avLst/>
              <a:gdLst>
                <a:gd name="T0" fmla="*/ 1 w 76"/>
                <a:gd name="T1" fmla="*/ 2 h 123"/>
                <a:gd name="T2" fmla="*/ 3 w 76"/>
                <a:gd name="T3" fmla="*/ 5 h 123"/>
                <a:gd name="T4" fmla="*/ 10 w 76"/>
                <a:gd name="T5" fmla="*/ 17 h 123"/>
                <a:gd name="T6" fmla="*/ 14 w 76"/>
                <a:gd name="T7" fmla="*/ 25 h 123"/>
                <a:gd name="T8" fmla="*/ 20 w 76"/>
                <a:gd name="T9" fmla="*/ 31 h 123"/>
                <a:gd name="T10" fmla="*/ 24 w 76"/>
                <a:gd name="T11" fmla="*/ 34 h 123"/>
                <a:gd name="T12" fmla="*/ 23 w 76"/>
                <a:gd name="T13" fmla="*/ 39 h 123"/>
                <a:gd name="T14" fmla="*/ 22 w 76"/>
                <a:gd name="T15" fmla="*/ 44 h 123"/>
                <a:gd name="T16" fmla="*/ 28 w 76"/>
                <a:gd name="T17" fmla="*/ 48 h 123"/>
                <a:gd name="T18" fmla="*/ 26 w 76"/>
                <a:gd name="T19" fmla="*/ 53 h 123"/>
                <a:gd name="T20" fmla="*/ 28 w 76"/>
                <a:gd name="T21" fmla="*/ 58 h 123"/>
                <a:gd name="T22" fmla="*/ 26 w 76"/>
                <a:gd name="T23" fmla="*/ 75 h 123"/>
                <a:gd name="T24" fmla="*/ 14 w 76"/>
                <a:gd name="T25" fmla="*/ 86 h 123"/>
                <a:gd name="T26" fmla="*/ 30 w 76"/>
                <a:gd name="T27" fmla="*/ 97 h 123"/>
                <a:gd name="T28" fmla="*/ 34 w 76"/>
                <a:gd name="T29" fmla="*/ 105 h 123"/>
                <a:gd name="T30" fmla="*/ 30 w 76"/>
                <a:gd name="T31" fmla="*/ 113 h 123"/>
                <a:gd name="T32" fmla="*/ 36 w 76"/>
                <a:gd name="T33" fmla="*/ 122 h 123"/>
                <a:gd name="T34" fmla="*/ 44 w 76"/>
                <a:gd name="T35" fmla="*/ 122 h 123"/>
                <a:gd name="T36" fmla="*/ 47 w 76"/>
                <a:gd name="T37" fmla="*/ 115 h 123"/>
                <a:gd name="T38" fmla="*/ 52 w 76"/>
                <a:gd name="T39" fmla="*/ 104 h 123"/>
                <a:gd name="T40" fmla="*/ 57 w 76"/>
                <a:gd name="T41" fmla="*/ 100 h 123"/>
                <a:gd name="T42" fmla="*/ 58 w 76"/>
                <a:gd name="T43" fmla="*/ 96 h 123"/>
                <a:gd name="T44" fmla="*/ 56 w 76"/>
                <a:gd name="T45" fmla="*/ 91 h 123"/>
                <a:gd name="T46" fmla="*/ 59 w 76"/>
                <a:gd name="T47" fmla="*/ 87 h 123"/>
                <a:gd name="T48" fmla="*/ 70 w 76"/>
                <a:gd name="T49" fmla="*/ 85 h 123"/>
                <a:gd name="T50" fmla="*/ 68 w 76"/>
                <a:gd name="T51" fmla="*/ 80 h 123"/>
                <a:gd name="T52" fmla="*/ 74 w 76"/>
                <a:gd name="T53" fmla="*/ 71 h 123"/>
                <a:gd name="T54" fmla="*/ 76 w 76"/>
                <a:gd name="T55" fmla="*/ 61 h 123"/>
                <a:gd name="T56" fmla="*/ 72 w 76"/>
                <a:gd name="T57" fmla="*/ 60 h 123"/>
                <a:gd name="T58" fmla="*/ 69 w 76"/>
                <a:gd name="T59" fmla="*/ 60 h 123"/>
                <a:gd name="T60" fmla="*/ 62 w 76"/>
                <a:gd name="T61" fmla="*/ 66 h 123"/>
                <a:gd name="T62" fmla="*/ 54 w 76"/>
                <a:gd name="T63" fmla="*/ 64 h 123"/>
                <a:gd name="T64" fmla="*/ 45 w 76"/>
                <a:gd name="T65" fmla="*/ 52 h 123"/>
                <a:gd name="T66" fmla="*/ 42 w 76"/>
                <a:gd name="T67" fmla="*/ 45 h 123"/>
                <a:gd name="T68" fmla="*/ 42 w 76"/>
                <a:gd name="T69" fmla="*/ 42 h 123"/>
                <a:gd name="T70" fmla="*/ 38 w 76"/>
                <a:gd name="T71" fmla="*/ 46 h 123"/>
                <a:gd name="T72" fmla="*/ 34 w 76"/>
                <a:gd name="T73" fmla="*/ 47 h 123"/>
                <a:gd name="T74" fmla="*/ 31 w 76"/>
                <a:gd name="T75" fmla="*/ 45 h 123"/>
                <a:gd name="T76" fmla="*/ 29 w 76"/>
                <a:gd name="T77" fmla="*/ 28 h 123"/>
                <a:gd name="T78" fmla="*/ 22 w 76"/>
                <a:gd name="T79" fmla="*/ 19 h 123"/>
                <a:gd name="T80" fmla="*/ 24 w 76"/>
                <a:gd name="T81" fmla="*/ 15 h 123"/>
                <a:gd name="T82" fmla="*/ 13 w 76"/>
                <a:gd name="T83" fmla="*/ 9 h 123"/>
                <a:gd name="T84" fmla="*/ 9 w 76"/>
                <a:gd name="T85" fmla="*/ 10 h 123"/>
                <a:gd name="T86" fmla="*/ 5 w 76"/>
                <a:gd name="T87" fmla="*/ 4 h 123"/>
                <a:gd name="T88" fmla="*/ 7 w 76"/>
                <a:gd name="T89" fmla="*/ 0 h 12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76"/>
                <a:gd name="T136" fmla="*/ 0 h 123"/>
                <a:gd name="T137" fmla="*/ 76 w 76"/>
                <a:gd name="T138" fmla="*/ 123 h 12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76" h="123">
                  <a:moveTo>
                    <a:pt x="3" y="0"/>
                  </a:moveTo>
                  <a:lnTo>
                    <a:pt x="3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3" y="5"/>
                  </a:lnTo>
                  <a:lnTo>
                    <a:pt x="5" y="7"/>
                  </a:lnTo>
                  <a:lnTo>
                    <a:pt x="8" y="12"/>
                  </a:lnTo>
                  <a:lnTo>
                    <a:pt x="10" y="17"/>
                  </a:lnTo>
                  <a:lnTo>
                    <a:pt x="11" y="20"/>
                  </a:lnTo>
                  <a:lnTo>
                    <a:pt x="12" y="23"/>
                  </a:lnTo>
                  <a:lnTo>
                    <a:pt x="14" y="25"/>
                  </a:lnTo>
                  <a:lnTo>
                    <a:pt x="17" y="27"/>
                  </a:lnTo>
                  <a:lnTo>
                    <a:pt x="19" y="30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4"/>
                  </a:lnTo>
                  <a:lnTo>
                    <a:pt x="24" y="34"/>
                  </a:lnTo>
                  <a:lnTo>
                    <a:pt x="24" y="36"/>
                  </a:lnTo>
                  <a:lnTo>
                    <a:pt x="24" y="37"/>
                  </a:lnTo>
                  <a:lnTo>
                    <a:pt x="23" y="39"/>
                  </a:lnTo>
                  <a:lnTo>
                    <a:pt x="22" y="41"/>
                  </a:lnTo>
                  <a:lnTo>
                    <a:pt x="22" y="42"/>
                  </a:lnTo>
                  <a:lnTo>
                    <a:pt x="22" y="44"/>
                  </a:lnTo>
                  <a:lnTo>
                    <a:pt x="23" y="45"/>
                  </a:lnTo>
                  <a:lnTo>
                    <a:pt x="25" y="46"/>
                  </a:lnTo>
                  <a:lnTo>
                    <a:pt x="28" y="48"/>
                  </a:lnTo>
                  <a:lnTo>
                    <a:pt x="28" y="50"/>
                  </a:lnTo>
                  <a:lnTo>
                    <a:pt x="27" y="51"/>
                  </a:lnTo>
                  <a:lnTo>
                    <a:pt x="26" y="53"/>
                  </a:lnTo>
                  <a:lnTo>
                    <a:pt x="27" y="55"/>
                  </a:lnTo>
                  <a:lnTo>
                    <a:pt x="28" y="56"/>
                  </a:lnTo>
                  <a:lnTo>
                    <a:pt x="28" y="58"/>
                  </a:lnTo>
                  <a:lnTo>
                    <a:pt x="28" y="66"/>
                  </a:lnTo>
                  <a:lnTo>
                    <a:pt x="27" y="70"/>
                  </a:lnTo>
                  <a:lnTo>
                    <a:pt x="26" y="75"/>
                  </a:lnTo>
                  <a:lnTo>
                    <a:pt x="25" y="78"/>
                  </a:lnTo>
                  <a:lnTo>
                    <a:pt x="24" y="80"/>
                  </a:lnTo>
                  <a:lnTo>
                    <a:pt x="14" y="86"/>
                  </a:lnTo>
                  <a:lnTo>
                    <a:pt x="20" y="90"/>
                  </a:lnTo>
                  <a:lnTo>
                    <a:pt x="27" y="94"/>
                  </a:lnTo>
                  <a:lnTo>
                    <a:pt x="30" y="97"/>
                  </a:lnTo>
                  <a:lnTo>
                    <a:pt x="32" y="99"/>
                  </a:lnTo>
                  <a:lnTo>
                    <a:pt x="33" y="101"/>
                  </a:lnTo>
                  <a:lnTo>
                    <a:pt x="34" y="105"/>
                  </a:lnTo>
                  <a:lnTo>
                    <a:pt x="34" y="107"/>
                  </a:lnTo>
                  <a:lnTo>
                    <a:pt x="33" y="109"/>
                  </a:lnTo>
                  <a:lnTo>
                    <a:pt x="30" y="113"/>
                  </a:lnTo>
                  <a:lnTo>
                    <a:pt x="30" y="117"/>
                  </a:lnTo>
                  <a:lnTo>
                    <a:pt x="30" y="121"/>
                  </a:lnTo>
                  <a:lnTo>
                    <a:pt x="36" y="122"/>
                  </a:lnTo>
                  <a:lnTo>
                    <a:pt x="40" y="123"/>
                  </a:lnTo>
                  <a:lnTo>
                    <a:pt x="43" y="122"/>
                  </a:lnTo>
                  <a:lnTo>
                    <a:pt x="44" y="122"/>
                  </a:lnTo>
                  <a:lnTo>
                    <a:pt x="45" y="121"/>
                  </a:lnTo>
                  <a:lnTo>
                    <a:pt x="46" y="118"/>
                  </a:lnTo>
                  <a:lnTo>
                    <a:pt x="47" y="115"/>
                  </a:lnTo>
                  <a:lnTo>
                    <a:pt x="48" y="111"/>
                  </a:lnTo>
                  <a:lnTo>
                    <a:pt x="51" y="105"/>
                  </a:lnTo>
                  <a:lnTo>
                    <a:pt x="52" y="104"/>
                  </a:lnTo>
                  <a:lnTo>
                    <a:pt x="55" y="102"/>
                  </a:lnTo>
                  <a:lnTo>
                    <a:pt x="56" y="101"/>
                  </a:lnTo>
                  <a:lnTo>
                    <a:pt x="57" y="100"/>
                  </a:lnTo>
                  <a:lnTo>
                    <a:pt x="58" y="99"/>
                  </a:lnTo>
                  <a:lnTo>
                    <a:pt x="58" y="98"/>
                  </a:lnTo>
                  <a:lnTo>
                    <a:pt x="58" y="96"/>
                  </a:lnTo>
                  <a:lnTo>
                    <a:pt x="58" y="94"/>
                  </a:lnTo>
                  <a:lnTo>
                    <a:pt x="57" y="92"/>
                  </a:lnTo>
                  <a:lnTo>
                    <a:pt x="56" y="91"/>
                  </a:lnTo>
                  <a:lnTo>
                    <a:pt x="56" y="90"/>
                  </a:lnTo>
                  <a:lnTo>
                    <a:pt x="58" y="88"/>
                  </a:lnTo>
                  <a:lnTo>
                    <a:pt x="59" y="87"/>
                  </a:lnTo>
                  <a:lnTo>
                    <a:pt x="66" y="85"/>
                  </a:lnTo>
                  <a:lnTo>
                    <a:pt x="70" y="88"/>
                  </a:lnTo>
                  <a:lnTo>
                    <a:pt x="70" y="85"/>
                  </a:lnTo>
                  <a:lnTo>
                    <a:pt x="69" y="83"/>
                  </a:lnTo>
                  <a:lnTo>
                    <a:pt x="68" y="82"/>
                  </a:lnTo>
                  <a:lnTo>
                    <a:pt x="68" y="80"/>
                  </a:lnTo>
                  <a:lnTo>
                    <a:pt x="69" y="78"/>
                  </a:lnTo>
                  <a:lnTo>
                    <a:pt x="72" y="75"/>
                  </a:lnTo>
                  <a:lnTo>
                    <a:pt x="74" y="71"/>
                  </a:lnTo>
                  <a:lnTo>
                    <a:pt x="76" y="69"/>
                  </a:lnTo>
                  <a:lnTo>
                    <a:pt x="76" y="65"/>
                  </a:lnTo>
                  <a:lnTo>
                    <a:pt x="76" y="61"/>
                  </a:lnTo>
                  <a:lnTo>
                    <a:pt x="73" y="61"/>
                  </a:lnTo>
                  <a:lnTo>
                    <a:pt x="72" y="61"/>
                  </a:lnTo>
                  <a:lnTo>
                    <a:pt x="72" y="60"/>
                  </a:lnTo>
                  <a:lnTo>
                    <a:pt x="71" y="59"/>
                  </a:lnTo>
                  <a:lnTo>
                    <a:pt x="70" y="59"/>
                  </a:lnTo>
                  <a:lnTo>
                    <a:pt x="69" y="60"/>
                  </a:lnTo>
                  <a:lnTo>
                    <a:pt x="67" y="62"/>
                  </a:lnTo>
                  <a:lnTo>
                    <a:pt x="64" y="65"/>
                  </a:lnTo>
                  <a:lnTo>
                    <a:pt x="62" y="66"/>
                  </a:lnTo>
                  <a:lnTo>
                    <a:pt x="59" y="66"/>
                  </a:lnTo>
                  <a:lnTo>
                    <a:pt x="57" y="65"/>
                  </a:lnTo>
                  <a:lnTo>
                    <a:pt x="54" y="64"/>
                  </a:lnTo>
                  <a:lnTo>
                    <a:pt x="50" y="62"/>
                  </a:lnTo>
                  <a:lnTo>
                    <a:pt x="45" y="59"/>
                  </a:lnTo>
                  <a:lnTo>
                    <a:pt x="45" y="52"/>
                  </a:lnTo>
                  <a:lnTo>
                    <a:pt x="45" y="46"/>
                  </a:lnTo>
                  <a:lnTo>
                    <a:pt x="43" y="45"/>
                  </a:lnTo>
                  <a:lnTo>
                    <a:pt x="42" y="45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2" y="42"/>
                  </a:lnTo>
                  <a:lnTo>
                    <a:pt x="42" y="41"/>
                  </a:lnTo>
                  <a:lnTo>
                    <a:pt x="41" y="40"/>
                  </a:lnTo>
                  <a:lnTo>
                    <a:pt x="38" y="46"/>
                  </a:lnTo>
                  <a:lnTo>
                    <a:pt x="37" y="47"/>
                  </a:lnTo>
                  <a:lnTo>
                    <a:pt x="35" y="48"/>
                  </a:lnTo>
                  <a:lnTo>
                    <a:pt x="34" y="47"/>
                  </a:lnTo>
                  <a:lnTo>
                    <a:pt x="32" y="47"/>
                  </a:lnTo>
                  <a:lnTo>
                    <a:pt x="31" y="46"/>
                  </a:lnTo>
                  <a:lnTo>
                    <a:pt x="31" y="45"/>
                  </a:lnTo>
                  <a:lnTo>
                    <a:pt x="30" y="41"/>
                  </a:lnTo>
                  <a:lnTo>
                    <a:pt x="29" y="37"/>
                  </a:lnTo>
                  <a:lnTo>
                    <a:pt x="29" y="28"/>
                  </a:lnTo>
                  <a:lnTo>
                    <a:pt x="29" y="23"/>
                  </a:lnTo>
                  <a:lnTo>
                    <a:pt x="28" y="19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3" y="17"/>
                  </a:lnTo>
                  <a:lnTo>
                    <a:pt x="24" y="15"/>
                  </a:lnTo>
                  <a:lnTo>
                    <a:pt x="19" y="11"/>
                  </a:lnTo>
                  <a:lnTo>
                    <a:pt x="14" y="7"/>
                  </a:lnTo>
                  <a:lnTo>
                    <a:pt x="13" y="9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9" y="10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6" y="2"/>
                  </a:lnTo>
                  <a:lnTo>
                    <a:pt x="7" y="1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4" name="Freeform 25"/>
            <p:cNvSpPr>
              <a:spLocks/>
            </p:cNvSpPr>
            <p:nvPr/>
          </p:nvSpPr>
          <p:spPr bwMode="auto">
            <a:xfrm>
              <a:off x="4536" y="3068"/>
              <a:ext cx="49" cy="52"/>
            </a:xfrm>
            <a:custGeom>
              <a:avLst/>
              <a:gdLst>
                <a:gd name="T0" fmla="*/ 2 w 49"/>
                <a:gd name="T1" fmla="*/ 0 h 52"/>
                <a:gd name="T2" fmla="*/ 2 w 49"/>
                <a:gd name="T3" fmla="*/ 2 h 52"/>
                <a:gd name="T4" fmla="*/ 1 w 49"/>
                <a:gd name="T5" fmla="*/ 4 h 52"/>
                <a:gd name="T6" fmla="*/ 0 w 49"/>
                <a:gd name="T7" fmla="*/ 6 h 52"/>
                <a:gd name="T8" fmla="*/ 1 w 49"/>
                <a:gd name="T9" fmla="*/ 7 h 52"/>
                <a:gd name="T10" fmla="*/ 2 w 49"/>
                <a:gd name="T11" fmla="*/ 8 h 52"/>
                <a:gd name="T12" fmla="*/ 4 w 49"/>
                <a:gd name="T13" fmla="*/ 10 h 52"/>
                <a:gd name="T14" fmla="*/ 6 w 49"/>
                <a:gd name="T15" fmla="*/ 15 h 52"/>
                <a:gd name="T16" fmla="*/ 7 w 49"/>
                <a:gd name="T17" fmla="*/ 21 h 52"/>
                <a:gd name="T18" fmla="*/ 10 w 49"/>
                <a:gd name="T19" fmla="*/ 25 h 52"/>
                <a:gd name="T20" fmla="*/ 11 w 49"/>
                <a:gd name="T21" fmla="*/ 26 h 52"/>
                <a:gd name="T22" fmla="*/ 13 w 49"/>
                <a:gd name="T23" fmla="*/ 26 h 52"/>
                <a:gd name="T24" fmla="*/ 15 w 49"/>
                <a:gd name="T25" fmla="*/ 27 h 52"/>
                <a:gd name="T26" fmla="*/ 16 w 49"/>
                <a:gd name="T27" fmla="*/ 27 h 52"/>
                <a:gd name="T28" fmla="*/ 13 w 49"/>
                <a:gd name="T29" fmla="*/ 30 h 52"/>
                <a:gd name="T30" fmla="*/ 12 w 49"/>
                <a:gd name="T31" fmla="*/ 31 h 52"/>
                <a:gd name="T32" fmla="*/ 12 w 49"/>
                <a:gd name="T33" fmla="*/ 33 h 52"/>
                <a:gd name="T34" fmla="*/ 12 w 49"/>
                <a:gd name="T35" fmla="*/ 34 h 52"/>
                <a:gd name="T36" fmla="*/ 12 w 49"/>
                <a:gd name="T37" fmla="*/ 35 h 52"/>
                <a:gd name="T38" fmla="*/ 14 w 49"/>
                <a:gd name="T39" fmla="*/ 38 h 52"/>
                <a:gd name="T40" fmla="*/ 18 w 49"/>
                <a:gd name="T41" fmla="*/ 42 h 52"/>
                <a:gd name="T42" fmla="*/ 20 w 49"/>
                <a:gd name="T43" fmla="*/ 44 h 52"/>
                <a:gd name="T44" fmla="*/ 22 w 49"/>
                <a:gd name="T45" fmla="*/ 46 h 52"/>
                <a:gd name="T46" fmla="*/ 22 w 49"/>
                <a:gd name="T47" fmla="*/ 50 h 52"/>
                <a:gd name="T48" fmla="*/ 25 w 49"/>
                <a:gd name="T49" fmla="*/ 52 h 52"/>
                <a:gd name="T50" fmla="*/ 28 w 49"/>
                <a:gd name="T51" fmla="*/ 52 h 52"/>
                <a:gd name="T52" fmla="*/ 30 w 49"/>
                <a:gd name="T53" fmla="*/ 51 h 52"/>
                <a:gd name="T54" fmla="*/ 31 w 49"/>
                <a:gd name="T55" fmla="*/ 51 h 52"/>
                <a:gd name="T56" fmla="*/ 32 w 49"/>
                <a:gd name="T57" fmla="*/ 50 h 52"/>
                <a:gd name="T58" fmla="*/ 34 w 49"/>
                <a:gd name="T59" fmla="*/ 48 h 52"/>
                <a:gd name="T60" fmla="*/ 35 w 49"/>
                <a:gd name="T61" fmla="*/ 46 h 52"/>
                <a:gd name="T62" fmla="*/ 37 w 49"/>
                <a:gd name="T63" fmla="*/ 41 h 52"/>
                <a:gd name="T64" fmla="*/ 39 w 49"/>
                <a:gd name="T65" fmla="*/ 43 h 52"/>
                <a:gd name="T66" fmla="*/ 41 w 49"/>
                <a:gd name="T67" fmla="*/ 45 h 52"/>
                <a:gd name="T68" fmla="*/ 42 w 49"/>
                <a:gd name="T69" fmla="*/ 46 h 52"/>
                <a:gd name="T70" fmla="*/ 43 w 49"/>
                <a:gd name="T71" fmla="*/ 45 h 52"/>
                <a:gd name="T72" fmla="*/ 45 w 49"/>
                <a:gd name="T73" fmla="*/ 45 h 52"/>
                <a:gd name="T74" fmla="*/ 45 w 49"/>
                <a:gd name="T75" fmla="*/ 41 h 52"/>
                <a:gd name="T76" fmla="*/ 44 w 49"/>
                <a:gd name="T77" fmla="*/ 40 h 52"/>
                <a:gd name="T78" fmla="*/ 43 w 49"/>
                <a:gd name="T79" fmla="*/ 38 h 52"/>
                <a:gd name="T80" fmla="*/ 43 w 49"/>
                <a:gd name="T81" fmla="*/ 35 h 52"/>
                <a:gd name="T82" fmla="*/ 43 w 49"/>
                <a:gd name="T83" fmla="*/ 33 h 52"/>
                <a:gd name="T84" fmla="*/ 45 w 49"/>
                <a:gd name="T85" fmla="*/ 25 h 52"/>
                <a:gd name="T86" fmla="*/ 48 w 49"/>
                <a:gd name="T87" fmla="*/ 25 h 52"/>
                <a:gd name="T88" fmla="*/ 49 w 49"/>
                <a:gd name="T89" fmla="*/ 23 h 52"/>
                <a:gd name="T90" fmla="*/ 49 w 49"/>
                <a:gd name="T91" fmla="*/ 20 h 52"/>
                <a:gd name="T92" fmla="*/ 49 w 49"/>
                <a:gd name="T93" fmla="*/ 15 h 52"/>
                <a:gd name="T94" fmla="*/ 47 w 49"/>
                <a:gd name="T95" fmla="*/ 4 h 52"/>
                <a:gd name="T96" fmla="*/ 40 w 49"/>
                <a:gd name="T97" fmla="*/ 7 h 52"/>
                <a:gd name="T98" fmla="*/ 37 w 49"/>
                <a:gd name="T99" fmla="*/ 8 h 52"/>
                <a:gd name="T100" fmla="*/ 34 w 49"/>
                <a:gd name="T101" fmla="*/ 8 h 52"/>
                <a:gd name="T102" fmla="*/ 29 w 49"/>
                <a:gd name="T103" fmla="*/ 8 h 52"/>
                <a:gd name="T104" fmla="*/ 24 w 49"/>
                <a:gd name="T105" fmla="*/ 8 h 52"/>
                <a:gd name="T106" fmla="*/ 19 w 49"/>
                <a:gd name="T107" fmla="*/ 6 h 52"/>
                <a:gd name="T108" fmla="*/ 14 w 49"/>
                <a:gd name="T109" fmla="*/ 5 h 52"/>
                <a:gd name="T110" fmla="*/ 2 w 49"/>
                <a:gd name="T111" fmla="*/ 0 h 5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9"/>
                <a:gd name="T169" fmla="*/ 0 h 52"/>
                <a:gd name="T170" fmla="*/ 49 w 49"/>
                <a:gd name="T171" fmla="*/ 52 h 5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9" h="52">
                  <a:moveTo>
                    <a:pt x="2" y="0"/>
                  </a:move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1" y="7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15"/>
                  </a:lnTo>
                  <a:lnTo>
                    <a:pt x="7" y="21"/>
                  </a:lnTo>
                  <a:lnTo>
                    <a:pt x="10" y="25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5" y="27"/>
                  </a:lnTo>
                  <a:lnTo>
                    <a:pt x="16" y="27"/>
                  </a:lnTo>
                  <a:lnTo>
                    <a:pt x="13" y="30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2" y="35"/>
                  </a:lnTo>
                  <a:lnTo>
                    <a:pt x="14" y="38"/>
                  </a:lnTo>
                  <a:lnTo>
                    <a:pt x="18" y="42"/>
                  </a:lnTo>
                  <a:lnTo>
                    <a:pt x="20" y="44"/>
                  </a:lnTo>
                  <a:lnTo>
                    <a:pt x="22" y="46"/>
                  </a:lnTo>
                  <a:lnTo>
                    <a:pt x="22" y="50"/>
                  </a:lnTo>
                  <a:lnTo>
                    <a:pt x="25" y="52"/>
                  </a:lnTo>
                  <a:lnTo>
                    <a:pt x="28" y="52"/>
                  </a:lnTo>
                  <a:lnTo>
                    <a:pt x="30" y="51"/>
                  </a:lnTo>
                  <a:lnTo>
                    <a:pt x="31" y="51"/>
                  </a:lnTo>
                  <a:lnTo>
                    <a:pt x="32" y="50"/>
                  </a:lnTo>
                  <a:lnTo>
                    <a:pt x="34" y="48"/>
                  </a:lnTo>
                  <a:lnTo>
                    <a:pt x="35" y="46"/>
                  </a:lnTo>
                  <a:lnTo>
                    <a:pt x="37" y="41"/>
                  </a:lnTo>
                  <a:lnTo>
                    <a:pt x="39" y="43"/>
                  </a:lnTo>
                  <a:lnTo>
                    <a:pt x="41" y="45"/>
                  </a:lnTo>
                  <a:lnTo>
                    <a:pt x="42" y="46"/>
                  </a:lnTo>
                  <a:lnTo>
                    <a:pt x="43" y="45"/>
                  </a:lnTo>
                  <a:lnTo>
                    <a:pt x="45" y="45"/>
                  </a:lnTo>
                  <a:lnTo>
                    <a:pt x="45" y="41"/>
                  </a:lnTo>
                  <a:lnTo>
                    <a:pt x="44" y="40"/>
                  </a:lnTo>
                  <a:lnTo>
                    <a:pt x="43" y="38"/>
                  </a:lnTo>
                  <a:lnTo>
                    <a:pt x="43" y="35"/>
                  </a:lnTo>
                  <a:lnTo>
                    <a:pt x="43" y="33"/>
                  </a:lnTo>
                  <a:lnTo>
                    <a:pt x="45" y="25"/>
                  </a:lnTo>
                  <a:lnTo>
                    <a:pt x="48" y="25"/>
                  </a:lnTo>
                  <a:lnTo>
                    <a:pt x="49" y="23"/>
                  </a:lnTo>
                  <a:lnTo>
                    <a:pt x="49" y="20"/>
                  </a:lnTo>
                  <a:lnTo>
                    <a:pt x="49" y="15"/>
                  </a:lnTo>
                  <a:lnTo>
                    <a:pt x="47" y="4"/>
                  </a:lnTo>
                  <a:lnTo>
                    <a:pt x="40" y="7"/>
                  </a:lnTo>
                  <a:lnTo>
                    <a:pt x="37" y="8"/>
                  </a:lnTo>
                  <a:lnTo>
                    <a:pt x="34" y="8"/>
                  </a:lnTo>
                  <a:lnTo>
                    <a:pt x="29" y="8"/>
                  </a:lnTo>
                  <a:lnTo>
                    <a:pt x="24" y="8"/>
                  </a:lnTo>
                  <a:lnTo>
                    <a:pt x="19" y="6"/>
                  </a:lnTo>
                  <a:lnTo>
                    <a:pt x="14" y="5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Freeform 26"/>
            <p:cNvSpPr>
              <a:spLocks/>
            </p:cNvSpPr>
            <p:nvPr/>
          </p:nvSpPr>
          <p:spPr bwMode="auto">
            <a:xfrm>
              <a:off x="4810" y="3070"/>
              <a:ext cx="97" cy="110"/>
            </a:xfrm>
            <a:custGeom>
              <a:avLst/>
              <a:gdLst>
                <a:gd name="T0" fmla="*/ 71 w 97"/>
                <a:gd name="T1" fmla="*/ 3 h 110"/>
                <a:gd name="T2" fmla="*/ 68 w 97"/>
                <a:gd name="T3" fmla="*/ 9 h 110"/>
                <a:gd name="T4" fmla="*/ 68 w 97"/>
                <a:gd name="T5" fmla="*/ 16 h 110"/>
                <a:gd name="T6" fmla="*/ 65 w 97"/>
                <a:gd name="T7" fmla="*/ 21 h 110"/>
                <a:gd name="T8" fmla="*/ 62 w 97"/>
                <a:gd name="T9" fmla="*/ 25 h 110"/>
                <a:gd name="T10" fmla="*/ 63 w 97"/>
                <a:gd name="T11" fmla="*/ 28 h 110"/>
                <a:gd name="T12" fmla="*/ 62 w 97"/>
                <a:gd name="T13" fmla="*/ 30 h 110"/>
                <a:gd name="T14" fmla="*/ 59 w 97"/>
                <a:gd name="T15" fmla="*/ 30 h 110"/>
                <a:gd name="T16" fmla="*/ 55 w 97"/>
                <a:gd name="T17" fmla="*/ 39 h 110"/>
                <a:gd name="T18" fmla="*/ 50 w 97"/>
                <a:gd name="T19" fmla="*/ 50 h 110"/>
                <a:gd name="T20" fmla="*/ 44 w 97"/>
                <a:gd name="T21" fmla="*/ 55 h 110"/>
                <a:gd name="T22" fmla="*/ 37 w 97"/>
                <a:gd name="T23" fmla="*/ 60 h 110"/>
                <a:gd name="T24" fmla="*/ 28 w 97"/>
                <a:gd name="T25" fmla="*/ 62 h 110"/>
                <a:gd name="T26" fmla="*/ 23 w 97"/>
                <a:gd name="T27" fmla="*/ 64 h 110"/>
                <a:gd name="T28" fmla="*/ 23 w 97"/>
                <a:gd name="T29" fmla="*/ 66 h 110"/>
                <a:gd name="T30" fmla="*/ 22 w 97"/>
                <a:gd name="T31" fmla="*/ 69 h 110"/>
                <a:gd name="T32" fmla="*/ 18 w 97"/>
                <a:gd name="T33" fmla="*/ 73 h 110"/>
                <a:gd name="T34" fmla="*/ 15 w 97"/>
                <a:gd name="T35" fmla="*/ 73 h 110"/>
                <a:gd name="T36" fmla="*/ 12 w 97"/>
                <a:gd name="T37" fmla="*/ 73 h 110"/>
                <a:gd name="T38" fmla="*/ 9 w 97"/>
                <a:gd name="T39" fmla="*/ 77 h 110"/>
                <a:gd name="T40" fmla="*/ 7 w 97"/>
                <a:gd name="T41" fmla="*/ 83 h 110"/>
                <a:gd name="T42" fmla="*/ 2 w 97"/>
                <a:gd name="T43" fmla="*/ 89 h 110"/>
                <a:gd name="T44" fmla="*/ 0 w 97"/>
                <a:gd name="T45" fmla="*/ 94 h 110"/>
                <a:gd name="T46" fmla="*/ 0 w 97"/>
                <a:gd name="T47" fmla="*/ 97 h 110"/>
                <a:gd name="T48" fmla="*/ 0 w 97"/>
                <a:gd name="T49" fmla="*/ 101 h 110"/>
                <a:gd name="T50" fmla="*/ 3 w 97"/>
                <a:gd name="T51" fmla="*/ 103 h 110"/>
                <a:gd name="T52" fmla="*/ 8 w 97"/>
                <a:gd name="T53" fmla="*/ 103 h 110"/>
                <a:gd name="T54" fmla="*/ 13 w 97"/>
                <a:gd name="T55" fmla="*/ 102 h 110"/>
                <a:gd name="T56" fmla="*/ 16 w 97"/>
                <a:gd name="T57" fmla="*/ 108 h 110"/>
                <a:gd name="T58" fmla="*/ 30 w 97"/>
                <a:gd name="T59" fmla="*/ 110 h 110"/>
                <a:gd name="T60" fmla="*/ 38 w 97"/>
                <a:gd name="T61" fmla="*/ 108 h 110"/>
                <a:gd name="T62" fmla="*/ 44 w 97"/>
                <a:gd name="T63" fmla="*/ 101 h 110"/>
                <a:gd name="T64" fmla="*/ 53 w 97"/>
                <a:gd name="T65" fmla="*/ 86 h 110"/>
                <a:gd name="T66" fmla="*/ 57 w 97"/>
                <a:gd name="T67" fmla="*/ 79 h 110"/>
                <a:gd name="T68" fmla="*/ 56 w 97"/>
                <a:gd name="T69" fmla="*/ 74 h 110"/>
                <a:gd name="T70" fmla="*/ 57 w 97"/>
                <a:gd name="T71" fmla="*/ 69 h 110"/>
                <a:gd name="T72" fmla="*/ 60 w 97"/>
                <a:gd name="T73" fmla="*/ 67 h 110"/>
                <a:gd name="T74" fmla="*/ 73 w 97"/>
                <a:gd name="T75" fmla="*/ 63 h 110"/>
                <a:gd name="T76" fmla="*/ 78 w 97"/>
                <a:gd name="T77" fmla="*/ 59 h 110"/>
                <a:gd name="T78" fmla="*/ 76 w 97"/>
                <a:gd name="T79" fmla="*/ 52 h 110"/>
                <a:gd name="T80" fmla="*/ 93 w 97"/>
                <a:gd name="T81" fmla="*/ 32 h 110"/>
                <a:gd name="T82" fmla="*/ 97 w 97"/>
                <a:gd name="T83" fmla="*/ 24 h 110"/>
                <a:gd name="T84" fmla="*/ 97 w 97"/>
                <a:gd name="T85" fmla="*/ 15 h 110"/>
                <a:gd name="T86" fmla="*/ 95 w 97"/>
                <a:gd name="T87" fmla="*/ 10 h 110"/>
                <a:gd name="T88" fmla="*/ 95 w 97"/>
                <a:gd name="T89" fmla="*/ 12 h 110"/>
                <a:gd name="T90" fmla="*/ 93 w 97"/>
                <a:gd name="T91" fmla="*/ 13 h 110"/>
                <a:gd name="T92" fmla="*/ 89 w 97"/>
                <a:gd name="T93" fmla="*/ 8 h 110"/>
                <a:gd name="T94" fmla="*/ 87 w 97"/>
                <a:gd name="T95" fmla="*/ 13 h 110"/>
                <a:gd name="T96" fmla="*/ 84 w 97"/>
                <a:gd name="T97" fmla="*/ 13 h 110"/>
                <a:gd name="T98" fmla="*/ 81 w 97"/>
                <a:gd name="T99" fmla="*/ 9 h 110"/>
                <a:gd name="T100" fmla="*/ 80 w 97"/>
                <a:gd name="T101" fmla="*/ 0 h 11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7"/>
                <a:gd name="T154" fmla="*/ 0 h 110"/>
                <a:gd name="T155" fmla="*/ 97 w 97"/>
                <a:gd name="T156" fmla="*/ 110 h 110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7" h="110">
                  <a:moveTo>
                    <a:pt x="74" y="0"/>
                  </a:moveTo>
                  <a:lnTo>
                    <a:pt x="71" y="3"/>
                  </a:lnTo>
                  <a:lnTo>
                    <a:pt x="68" y="6"/>
                  </a:lnTo>
                  <a:lnTo>
                    <a:pt x="68" y="9"/>
                  </a:lnTo>
                  <a:lnTo>
                    <a:pt x="68" y="13"/>
                  </a:lnTo>
                  <a:lnTo>
                    <a:pt x="68" y="16"/>
                  </a:lnTo>
                  <a:lnTo>
                    <a:pt x="68" y="19"/>
                  </a:lnTo>
                  <a:lnTo>
                    <a:pt x="65" y="21"/>
                  </a:lnTo>
                  <a:lnTo>
                    <a:pt x="62" y="23"/>
                  </a:lnTo>
                  <a:lnTo>
                    <a:pt x="62" y="25"/>
                  </a:lnTo>
                  <a:lnTo>
                    <a:pt x="62" y="26"/>
                  </a:lnTo>
                  <a:lnTo>
                    <a:pt x="63" y="28"/>
                  </a:lnTo>
                  <a:lnTo>
                    <a:pt x="62" y="29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59" y="30"/>
                  </a:lnTo>
                  <a:lnTo>
                    <a:pt x="59" y="31"/>
                  </a:lnTo>
                  <a:lnTo>
                    <a:pt x="55" y="39"/>
                  </a:lnTo>
                  <a:lnTo>
                    <a:pt x="52" y="46"/>
                  </a:lnTo>
                  <a:lnTo>
                    <a:pt x="50" y="50"/>
                  </a:lnTo>
                  <a:lnTo>
                    <a:pt x="47" y="53"/>
                  </a:lnTo>
                  <a:lnTo>
                    <a:pt x="44" y="55"/>
                  </a:lnTo>
                  <a:lnTo>
                    <a:pt x="41" y="58"/>
                  </a:lnTo>
                  <a:lnTo>
                    <a:pt x="37" y="60"/>
                  </a:lnTo>
                  <a:lnTo>
                    <a:pt x="33" y="61"/>
                  </a:lnTo>
                  <a:lnTo>
                    <a:pt x="28" y="62"/>
                  </a:lnTo>
                  <a:lnTo>
                    <a:pt x="24" y="64"/>
                  </a:lnTo>
                  <a:lnTo>
                    <a:pt x="23" y="64"/>
                  </a:lnTo>
                  <a:lnTo>
                    <a:pt x="23" y="65"/>
                  </a:lnTo>
                  <a:lnTo>
                    <a:pt x="23" y="66"/>
                  </a:lnTo>
                  <a:lnTo>
                    <a:pt x="23" y="68"/>
                  </a:lnTo>
                  <a:lnTo>
                    <a:pt x="22" y="69"/>
                  </a:lnTo>
                  <a:lnTo>
                    <a:pt x="18" y="69"/>
                  </a:lnTo>
                  <a:lnTo>
                    <a:pt x="18" y="73"/>
                  </a:lnTo>
                  <a:lnTo>
                    <a:pt x="17" y="74"/>
                  </a:lnTo>
                  <a:lnTo>
                    <a:pt x="15" y="73"/>
                  </a:lnTo>
                  <a:lnTo>
                    <a:pt x="14" y="73"/>
                  </a:lnTo>
                  <a:lnTo>
                    <a:pt x="12" y="73"/>
                  </a:lnTo>
                  <a:lnTo>
                    <a:pt x="10" y="75"/>
                  </a:lnTo>
                  <a:lnTo>
                    <a:pt x="9" y="77"/>
                  </a:lnTo>
                  <a:lnTo>
                    <a:pt x="8" y="80"/>
                  </a:lnTo>
                  <a:lnTo>
                    <a:pt x="7" y="83"/>
                  </a:lnTo>
                  <a:lnTo>
                    <a:pt x="3" y="83"/>
                  </a:lnTo>
                  <a:lnTo>
                    <a:pt x="2" y="89"/>
                  </a:lnTo>
                  <a:lnTo>
                    <a:pt x="1" y="94"/>
                  </a:lnTo>
                  <a:lnTo>
                    <a:pt x="0" y="94"/>
                  </a:lnTo>
                  <a:lnTo>
                    <a:pt x="0" y="95"/>
                  </a:lnTo>
                  <a:lnTo>
                    <a:pt x="0" y="97"/>
                  </a:lnTo>
                  <a:lnTo>
                    <a:pt x="0" y="100"/>
                  </a:lnTo>
                  <a:lnTo>
                    <a:pt x="0" y="101"/>
                  </a:lnTo>
                  <a:lnTo>
                    <a:pt x="1" y="102"/>
                  </a:lnTo>
                  <a:lnTo>
                    <a:pt x="3" y="103"/>
                  </a:lnTo>
                  <a:lnTo>
                    <a:pt x="5" y="103"/>
                  </a:lnTo>
                  <a:lnTo>
                    <a:pt x="8" y="103"/>
                  </a:lnTo>
                  <a:lnTo>
                    <a:pt x="11" y="102"/>
                  </a:lnTo>
                  <a:lnTo>
                    <a:pt x="13" y="102"/>
                  </a:lnTo>
                  <a:lnTo>
                    <a:pt x="14" y="102"/>
                  </a:lnTo>
                  <a:lnTo>
                    <a:pt x="16" y="108"/>
                  </a:lnTo>
                  <a:lnTo>
                    <a:pt x="24" y="109"/>
                  </a:lnTo>
                  <a:lnTo>
                    <a:pt x="30" y="110"/>
                  </a:lnTo>
                  <a:lnTo>
                    <a:pt x="35" y="110"/>
                  </a:lnTo>
                  <a:lnTo>
                    <a:pt x="38" y="108"/>
                  </a:lnTo>
                  <a:lnTo>
                    <a:pt x="41" y="105"/>
                  </a:lnTo>
                  <a:lnTo>
                    <a:pt x="44" y="101"/>
                  </a:lnTo>
                  <a:lnTo>
                    <a:pt x="47" y="96"/>
                  </a:lnTo>
                  <a:lnTo>
                    <a:pt x="53" y="86"/>
                  </a:lnTo>
                  <a:lnTo>
                    <a:pt x="55" y="82"/>
                  </a:lnTo>
                  <a:lnTo>
                    <a:pt x="57" y="79"/>
                  </a:lnTo>
                  <a:lnTo>
                    <a:pt x="57" y="77"/>
                  </a:lnTo>
                  <a:lnTo>
                    <a:pt x="56" y="74"/>
                  </a:lnTo>
                  <a:lnTo>
                    <a:pt x="56" y="71"/>
                  </a:lnTo>
                  <a:lnTo>
                    <a:pt x="57" y="69"/>
                  </a:lnTo>
                  <a:lnTo>
                    <a:pt x="58" y="68"/>
                  </a:lnTo>
                  <a:lnTo>
                    <a:pt x="60" y="67"/>
                  </a:lnTo>
                  <a:lnTo>
                    <a:pt x="66" y="65"/>
                  </a:lnTo>
                  <a:lnTo>
                    <a:pt x="73" y="63"/>
                  </a:lnTo>
                  <a:lnTo>
                    <a:pt x="78" y="62"/>
                  </a:lnTo>
                  <a:lnTo>
                    <a:pt x="78" y="59"/>
                  </a:lnTo>
                  <a:lnTo>
                    <a:pt x="77" y="56"/>
                  </a:lnTo>
                  <a:lnTo>
                    <a:pt x="76" y="52"/>
                  </a:lnTo>
                  <a:lnTo>
                    <a:pt x="86" y="41"/>
                  </a:lnTo>
                  <a:lnTo>
                    <a:pt x="93" y="32"/>
                  </a:lnTo>
                  <a:lnTo>
                    <a:pt x="97" y="27"/>
                  </a:lnTo>
                  <a:lnTo>
                    <a:pt x="97" y="24"/>
                  </a:lnTo>
                  <a:lnTo>
                    <a:pt x="97" y="20"/>
                  </a:lnTo>
                  <a:lnTo>
                    <a:pt x="97" y="15"/>
                  </a:lnTo>
                  <a:lnTo>
                    <a:pt x="97" y="10"/>
                  </a:lnTo>
                  <a:lnTo>
                    <a:pt x="95" y="10"/>
                  </a:lnTo>
                  <a:lnTo>
                    <a:pt x="95" y="11"/>
                  </a:lnTo>
                  <a:lnTo>
                    <a:pt x="95" y="12"/>
                  </a:lnTo>
                  <a:lnTo>
                    <a:pt x="95" y="14"/>
                  </a:lnTo>
                  <a:lnTo>
                    <a:pt x="93" y="13"/>
                  </a:lnTo>
                  <a:lnTo>
                    <a:pt x="91" y="11"/>
                  </a:lnTo>
                  <a:lnTo>
                    <a:pt x="89" y="8"/>
                  </a:lnTo>
                  <a:lnTo>
                    <a:pt x="88" y="11"/>
                  </a:lnTo>
                  <a:lnTo>
                    <a:pt x="87" y="13"/>
                  </a:lnTo>
                  <a:lnTo>
                    <a:pt x="87" y="14"/>
                  </a:lnTo>
                  <a:lnTo>
                    <a:pt x="84" y="13"/>
                  </a:lnTo>
                  <a:lnTo>
                    <a:pt x="82" y="14"/>
                  </a:lnTo>
                  <a:lnTo>
                    <a:pt x="81" y="9"/>
                  </a:lnTo>
                  <a:lnTo>
                    <a:pt x="80" y="6"/>
                  </a:lnTo>
                  <a:lnTo>
                    <a:pt x="80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27"/>
            <p:cNvSpPr>
              <a:spLocks/>
            </p:cNvSpPr>
            <p:nvPr/>
          </p:nvSpPr>
          <p:spPr bwMode="auto">
            <a:xfrm>
              <a:off x="2617" y="1478"/>
              <a:ext cx="59" cy="78"/>
            </a:xfrm>
            <a:custGeom>
              <a:avLst/>
              <a:gdLst>
                <a:gd name="T0" fmla="*/ 39 w 59"/>
                <a:gd name="T1" fmla="*/ 11 h 78"/>
                <a:gd name="T2" fmla="*/ 41 w 59"/>
                <a:gd name="T3" fmla="*/ 8 h 78"/>
                <a:gd name="T4" fmla="*/ 42 w 59"/>
                <a:gd name="T5" fmla="*/ 4 h 78"/>
                <a:gd name="T6" fmla="*/ 40 w 59"/>
                <a:gd name="T7" fmla="*/ 1 h 78"/>
                <a:gd name="T8" fmla="*/ 34 w 59"/>
                <a:gd name="T9" fmla="*/ 6 h 78"/>
                <a:gd name="T10" fmla="*/ 35 w 59"/>
                <a:gd name="T11" fmla="*/ 5 h 78"/>
                <a:gd name="T12" fmla="*/ 27 w 59"/>
                <a:gd name="T13" fmla="*/ 4 h 78"/>
                <a:gd name="T14" fmla="*/ 25 w 59"/>
                <a:gd name="T15" fmla="*/ 11 h 78"/>
                <a:gd name="T16" fmla="*/ 23 w 59"/>
                <a:gd name="T17" fmla="*/ 12 h 78"/>
                <a:gd name="T18" fmla="*/ 27 w 59"/>
                <a:gd name="T19" fmla="*/ 16 h 78"/>
                <a:gd name="T20" fmla="*/ 22 w 59"/>
                <a:gd name="T21" fmla="*/ 18 h 78"/>
                <a:gd name="T22" fmla="*/ 19 w 59"/>
                <a:gd name="T23" fmla="*/ 22 h 78"/>
                <a:gd name="T24" fmla="*/ 15 w 59"/>
                <a:gd name="T25" fmla="*/ 24 h 78"/>
                <a:gd name="T26" fmla="*/ 10 w 59"/>
                <a:gd name="T27" fmla="*/ 22 h 78"/>
                <a:gd name="T28" fmla="*/ 7 w 59"/>
                <a:gd name="T29" fmla="*/ 20 h 78"/>
                <a:gd name="T30" fmla="*/ 7 w 59"/>
                <a:gd name="T31" fmla="*/ 27 h 78"/>
                <a:gd name="T32" fmla="*/ 11 w 59"/>
                <a:gd name="T33" fmla="*/ 27 h 78"/>
                <a:gd name="T34" fmla="*/ 11 w 59"/>
                <a:gd name="T35" fmla="*/ 29 h 78"/>
                <a:gd name="T36" fmla="*/ 11 w 59"/>
                <a:gd name="T37" fmla="*/ 32 h 78"/>
                <a:gd name="T38" fmla="*/ 7 w 59"/>
                <a:gd name="T39" fmla="*/ 33 h 78"/>
                <a:gd name="T40" fmla="*/ 4 w 59"/>
                <a:gd name="T41" fmla="*/ 34 h 78"/>
                <a:gd name="T42" fmla="*/ 2 w 59"/>
                <a:gd name="T43" fmla="*/ 37 h 78"/>
                <a:gd name="T44" fmla="*/ 4 w 59"/>
                <a:gd name="T45" fmla="*/ 42 h 78"/>
                <a:gd name="T46" fmla="*/ 9 w 59"/>
                <a:gd name="T47" fmla="*/ 43 h 78"/>
                <a:gd name="T48" fmla="*/ 10 w 59"/>
                <a:gd name="T49" fmla="*/ 54 h 78"/>
                <a:gd name="T50" fmla="*/ 6 w 59"/>
                <a:gd name="T51" fmla="*/ 66 h 78"/>
                <a:gd name="T52" fmla="*/ 0 w 59"/>
                <a:gd name="T53" fmla="*/ 65 h 78"/>
                <a:gd name="T54" fmla="*/ 2 w 59"/>
                <a:gd name="T55" fmla="*/ 70 h 78"/>
                <a:gd name="T56" fmla="*/ 3 w 59"/>
                <a:gd name="T57" fmla="*/ 73 h 78"/>
                <a:gd name="T58" fmla="*/ 7 w 59"/>
                <a:gd name="T59" fmla="*/ 73 h 78"/>
                <a:gd name="T60" fmla="*/ 9 w 59"/>
                <a:gd name="T61" fmla="*/ 77 h 78"/>
                <a:gd name="T62" fmla="*/ 11 w 59"/>
                <a:gd name="T63" fmla="*/ 75 h 78"/>
                <a:gd name="T64" fmla="*/ 13 w 59"/>
                <a:gd name="T65" fmla="*/ 73 h 78"/>
                <a:gd name="T66" fmla="*/ 15 w 59"/>
                <a:gd name="T67" fmla="*/ 73 h 78"/>
                <a:gd name="T68" fmla="*/ 16 w 59"/>
                <a:gd name="T69" fmla="*/ 76 h 78"/>
                <a:gd name="T70" fmla="*/ 19 w 59"/>
                <a:gd name="T71" fmla="*/ 78 h 78"/>
                <a:gd name="T72" fmla="*/ 21 w 59"/>
                <a:gd name="T73" fmla="*/ 75 h 78"/>
                <a:gd name="T74" fmla="*/ 24 w 59"/>
                <a:gd name="T75" fmla="*/ 72 h 78"/>
                <a:gd name="T76" fmla="*/ 28 w 59"/>
                <a:gd name="T77" fmla="*/ 69 h 78"/>
                <a:gd name="T78" fmla="*/ 33 w 59"/>
                <a:gd name="T79" fmla="*/ 70 h 78"/>
                <a:gd name="T80" fmla="*/ 34 w 59"/>
                <a:gd name="T81" fmla="*/ 64 h 78"/>
                <a:gd name="T82" fmla="*/ 40 w 59"/>
                <a:gd name="T83" fmla="*/ 64 h 78"/>
                <a:gd name="T84" fmla="*/ 41 w 59"/>
                <a:gd name="T85" fmla="*/ 60 h 78"/>
                <a:gd name="T86" fmla="*/ 44 w 59"/>
                <a:gd name="T87" fmla="*/ 63 h 78"/>
                <a:gd name="T88" fmla="*/ 46 w 59"/>
                <a:gd name="T89" fmla="*/ 62 h 78"/>
                <a:gd name="T90" fmla="*/ 45 w 59"/>
                <a:gd name="T91" fmla="*/ 60 h 78"/>
                <a:gd name="T92" fmla="*/ 44 w 59"/>
                <a:gd name="T93" fmla="*/ 58 h 78"/>
                <a:gd name="T94" fmla="*/ 48 w 59"/>
                <a:gd name="T95" fmla="*/ 54 h 78"/>
                <a:gd name="T96" fmla="*/ 47 w 59"/>
                <a:gd name="T97" fmla="*/ 49 h 78"/>
                <a:gd name="T98" fmla="*/ 44 w 59"/>
                <a:gd name="T99" fmla="*/ 41 h 78"/>
                <a:gd name="T100" fmla="*/ 45 w 59"/>
                <a:gd name="T101" fmla="*/ 33 h 78"/>
                <a:gd name="T102" fmla="*/ 47 w 59"/>
                <a:gd name="T103" fmla="*/ 29 h 78"/>
                <a:gd name="T104" fmla="*/ 49 w 59"/>
                <a:gd name="T105" fmla="*/ 26 h 78"/>
                <a:gd name="T106" fmla="*/ 52 w 59"/>
                <a:gd name="T107" fmla="*/ 23 h 78"/>
                <a:gd name="T108" fmla="*/ 59 w 59"/>
                <a:gd name="T109" fmla="*/ 23 h 78"/>
                <a:gd name="T110" fmla="*/ 57 w 59"/>
                <a:gd name="T111" fmla="*/ 22 h 78"/>
                <a:gd name="T112" fmla="*/ 56 w 59"/>
                <a:gd name="T113" fmla="*/ 18 h 78"/>
                <a:gd name="T114" fmla="*/ 52 w 59"/>
                <a:gd name="T115" fmla="*/ 14 h 78"/>
                <a:gd name="T116" fmla="*/ 52 w 59"/>
                <a:gd name="T117" fmla="*/ 12 h 78"/>
                <a:gd name="T118" fmla="*/ 54 w 59"/>
                <a:gd name="T119" fmla="*/ 7 h 78"/>
                <a:gd name="T120" fmla="*/ 51 w 59"/>
                <a:gd name="T121" fmla="*/ 6 h 78"/>
                <a:gd name="T122" fmla="*/ 46 w 59"/>
                <a:gd name="T123" fmla="*/ 7 h 78"/>
                <a:gd name="T124" fmla="*/ 38 w 59"/>
                <a:gd name="T125" fmla="*/ 12 h 7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9"/>
                <a:gd name="T190" fmla="*/ 0 h 78"/>
                <a:gd name="T191" fmla="*/ 59 w 59"/>
                <a:gd name="T192" fmla="*/ 78 h 7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9" h="78">
                  <a:moveTo>
                    <a:pt x="38" y="12"/>
                  </a:moveTo>
                  <a:lnTo>
                    <a:pt x="39" y="11"/>
                  </a:lnTo>
                  <a:lnTo>
                    <a:pt x="40" y="10"/>
                  </a:lnTo>
                  <a:lnTo>
                    <a:pt x="41" y="8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1" y="2"/>
                  </a:lnTo>
                  <a:lnTo>
                    <a:pt x="40" y="1"/>
                  </a:lnTo>
                  <a:lnTo>
                    <a:pt x="38" y="0"/>
                  </a:lnTo>
                  <a:lnTo>
                    <a:pt x="34" y="6"/>
                  </a:lnTo>
                  <a:lnTo>
                    <a:pt x="35" y="6"/>
                  </a:lnTo>
                  <a:lnTo>
                    <a:pt x="35" y="5"/>
                  </a:lnTo>
                  <a:lnTo>
                    <a:pt x="32" y="5"/>
                  </a:lnTo>
                  <a:lnTo>
                    <a:pt x="27" y="4"/>
                  </a:lnTo>
                  <a:lnTo>
                    <a:pt x="27" y="10"/>
                  </a:lnTo>
                  <a:lnTo>
                    <a:pt x="25" y="11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16"/>
                  </a:lnTo>
                  <a:lnTo>
                    <a:pt x="23" y="16"/>
                  </a:lnTo>
                  <a:lnTo>
                    <a:pt x="22" y="18"/>
                  </a:lnTo>
                  <a:lnTo>
                    <a:pt x="20" y="21"/>
                  </a:lnTo>
                  <a:lnTo>
                    <a:pt x="19" y="22"/>
                  </a:lnTo>
                  <a:lnTo>
                    <a:pt x="17" y="23"/>
                  </a:lnTo>
                  <a:lnTo>
                    <a:pt x="15" y="24"/>
                  </a:lnTo>
                  <a:lnTo>
                    <a:pt x="11" y="23"/>
                  </a:lnTo>
                  <a:lnTo>
                    <a:pt x="10" y="22"/>
                  </a:lnTo>
                  <a:lnTo>
                    <a:pt x="9" y="20"/>
                  </a:lnTo>
                  <a:lnTo>
                    <a:pt x="7" y="20"/>
                  </a:lnTo>
                  <a:lnTo>
                    <a:pt x="8" y="23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7" y="33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3" y="36"/>
                  </a:lnTo>
                  <a:lnTo>
                    <a:pt x="2" y="37"/>
                  </a:lnTo>
                  <a:lnTo>
                    <a:pt x="3" y="40"/>
                  </a:lnTo>
                  <a:lnTo>
                    <a:pt x="4" y="42"/>
                  </a:lnTo>
                  <a:lnTo>
                    <a:pt x="6" y="43"/>
                  </a:lnTo>
                  <a:lnTo>
                    <a:pt x="9" y="43"/>
                  </a:lnTo>
                  <a:lnTo>
                    <a:pt x="15" y="43"/>
                  </a:lnTo>
                  <a:lnTo>
                    <a:pt x="10" y="54"/>
                  </a:lnTo>
                  <a:lnTo>
                    <a:pt x="8" y="59"/>
                  </a:lnTo>
                  <a:lnTo>
                    <a:pt x="6" y="66"/>
                  </a:lnTo>
                  <a:lnTo>
                    <a:pt x="2" y="66"/>
                  </a:lnTo>
                  <a:lnTo>
                    <a:pt x="0" y="65"/>
                  </a:lnTo>
                  <a:lnTo>
                    <a:pt x="0" y="66"/>
                  </a:lnTo>
                  <a:lnTo>
                    <a:pt x="2" y="70"/>
                  </a:lnTo>
                  <a:lnTo>
                    <a:pt x="3" y="72"/>
                  </a:lnTo>
                  <a:lnTo>
                    <a:pt x="3" y="73"/>
                  </a:lnTo>
                  <a:lnTo>
                    <a:pt x="4" y="73"/>
                  </a:lnTo>
                  <a:lnTo>
                    <a:pt x="7" y="73"/>
                  </a:lnTo>
                  <a:lnTo>
                    <a:pt x="6" y="77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11" y="75"/>
                  </a:lnTo>
                  <a:lnTo>
                    <a:pt x="12" y="74"/>
                  </a:lnTo>
                  <a:lnTo>
                    <a:pt x="13" y="73"/>
                  </a:lnTo>
                  <a:lnTo>
                    <a:pt x="14" y="73"/>
                  </a:lnTo>
                  <a:lnTo>
                    <a:pt x="15" y="73"/>
                  </a:lnTo>
                  <a:lnTo>
                    <a:pt x="16" y="74"/>
                  </a:lnTo>
                  <a:lnTo>
                    <a:pt x="16" y="76"/>
                  </a:lnTo>
                  <a:lnTo>
                    <a:pt x="18" y="77"/>
                  </a:lnTo>
                  <a:lnTo>
                    <a:pt x="19" y="78"/>
                  </a:lnTo>
                  <a:lnTo>
                    <a:pt x="21" y="77"/>
                  </a:lnTo>
                  <a:lnTo>
                    <a:pt x="21" y="75"/>
                  </a:lnTo>
                  <a:lnTo>
                    <a:pt x="22" y="74"/>
                  </a:lnTo>
                  <a:lnTo>
                    <a:pt x="24" y="72"/>
                  </a:lnTo>
                  <a:lnTo>
                    <a:pt x="27" y="70"/>
                  </a:lnTo>
                  <a:lnTo>
                    <a:pt x="28" y="69"/>
                  </a:lnTo>
                  <a:lnTo>
                    <a:pt x="31" y="70"/>
                  </a:lnTo>
                  <a:lnTo>
                    <a:pt x="33" y="70"/>
                  </a:lnTo>
                  <a:lnTo>
                    <a:pt x="34" y="70"/>
                  </a:lnTo>
                  <a:lnTo>
                    <a:pt x="34" y="64"/>
                  </a:lnTo>
                  <a:lnTo>
                    <a:pt x="37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1" y="60"/>
                  </a:lnTo>
                  <a:lnTo>
                    <a:pt x="43" y="62"/>
                  </a:lnTo>
                  <a:lnTo>
                    <a:pt x="44" y="63"/>
                  </a:lnTo>
                  <a:lnTo>
                    <a:pt x="45" y="63"/>
                  </a:lnTo>
                  <a:lnTo>
                    <a:pt x="46" y="62"/>
                  </a:lnTo>
                  <a:lnTo>
                    <a:pt x="46" y="61"/>
                  </a:lnTo>
                  <a:lnTo>
                    <a:pt x="45" y="60"/>
                  </a:lnTo>
                  <a:lnTo>
                    <a:pt x="43" y="59"/>
                  </a:lnTo>
                  <a:lnTo>
                    <a:pt x="44" y="58"/>
                  </a:lnTo>
                  <a:lnTo>
                    <a:pt x="46" y="56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7" y="49"/>
                  </a:lnTo>
                  <a:lnTo>
                    <a:pt x="45" y="45"/>
                  </a:lnTo>
                  <a:lnTo>
                    <a:pt x="44" y="41"/>
                  </a:lnTo>
                  <a:lnTo>
                    <a:pt x="45" y="36"/>
                  </a:lnTo>
                  <a:lnTo>
                    <a:pt x="45" y="33"/>
                  </a:lnTo>
                  <a:lnTo>
                    <a:pt x="46" y="29"/>
                  </a:lnTo>
                  <a:lnTo>
                    <a:pt x="47" y="29"/>
                  </a:lnTo>
                  <a:lnTo>
                    <a:pt x="47" y="28"/>
                  </a:lnTo>
                  <a:lnTo>
                    <a:pt x="49" y="26"/>
                  </a:lnTo>
                  <a:lnTo>
                    <a:pt x="50" y="24"/>
                  </a:lnTo>
                  <a:lnTo>
                    <a:pt x="52" y="23"/>
                  </a:lnTo>
                  <a:lnTo>
                    <a:pt x="55" y="24"/>
                  </a:lnTo>
                  <a:lnTo>
                    <a:pt x="59" y="23"/>
                  </a:lnTo>
                  <a:lnTo>
                    <a:pt x="58" y="22"/>
                  </a:lnTo>
                  <a:lnTo>
                    <a:pt x="57" y="22"/>
                  </a:lnTo>
                  <a:lnTo>
                    <a:pt x="55" y="22"/>
                  </a:lnTo>
                  <a:lnTo>
                    <a:pt x="56" y="18"/>
                  </a:lnTo>
                  <a:lnTo>
                    <a:pt x="55" y="14"/>
                  </a:lnTo>
                  <a:lnTo>
                    <a:pt x="52" y="14"/>
                  </a:lnTo>
                  <a:lnTo>
                    <a:pt x="52" y="13"/>
                  </a:lnTo>
                  <a:lnTo>
                    <a:pt x="52" y="12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3" y="6"/>
                  </a:lnTo>
                  <a:lnTo>
                    <a:pt x="51" y="6"/>
                  </a:lnTo>
                  <a:lnTo>
                    <a:pt x="48" y="6"/>
                  </a:lnTo>
                  <a:lnTo>
                    <a:pt x="46" y="7"/>
                  </a:lnTo>
                  <a:lnTo>
                    <a:pt x="43" y="9"/>
                  </a:lnTo>
                  <a:lnTo>
                    <a:pt x="38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Freeform 28"/>
            <p:cNvSpPr>
              <a:spLocks/>
            </p:cNvSpPr>
            <p:nvPr/>
          </p:nvSpPr>
          <p:spPr bwMode="auto">
            <a:xfrm>
              <a:off x="4152" y="2585"/>
              <a:ext cx="498" cy="458"/>
            </a:xfrm>
            <a:custGeom>
              <a:avLst/>
              <a:gdLst>
                <a:gd name="T0" fmla="*/ 24 w 498"/>
                <a:gd name="T1" fmla="*/ 309 h 458"/>
                <a:gd name="T2" fmla="*/ 21 w 498"/>
                <a:gd name="T3" fmla="*/ 360 h 458"/>
                <a:gd name="T4" fmla="*/ 40 w 498"/>
                <a:gd name="T5" fmla="*/ 379 h 458"/>
                <a:gd name="T6" fmla="*/ 73 w 498"/>
                <a:gd name="T7" fmla="*/ 373 h 458"/>
                <a:gd name="T8" fmla="*/ 102 w 498"/>
                <a:gd name="T9" fmla="*/ 361 h 458"/>
                <a:gd name="T10" fmla="*/ 125 w 498"/>
                <a:gd name="T11" fmla="*/ 363 h 458"/>
                <a:gd name="T12" fmla="*/ 143 w 498"/>
                <a:gd name="T13" fmla="*/ 349 h 458"/>
                <a:gd name="T14" fmla="*/ 155 w 498"/>
                <a:gd name="T15" fmla="*/ 337 h 458"/>
                <a:gd name="T16" fmla="*/ 221 w 498"/>
                <a:gd name="T17" fmla="*/ 324 h 458"/>
                <a:gd name="T18" fmla="*/ 249 w 498"/>
                <a:gd name="T19" fmla="*/ 332 h 458"/>
                <a:gd name="T20" fmla="*/ 260 w 498"/>
                <a:gd name="T21" fmla="*/ 345 h 458"/>
                <a:gd name="T22" fmla="*/ 274 w 498"/>
                <a:gd name="T23" fmla="*/ 372 h 458"/>
                <a:gd name="T24" fmla="*/ 305 w 498"/>
                <a:gd name="T25" fmla="*/ 351 h 458"/>
                <a:gd name="T26" fmla="*/ 294 w 498"/>
                <a:gd name="T27" fmla="*/ 381 h 458"/>
                <a:gd name="T28" fmla="*/ 308 w 498"/>
                <a:gd name="T29" fmla="*/ 372 h 458"/>
                <a:gd name="T30" fmla="*/ 323 w 498"/>
                <a:gd name="T31" fmla="*/ 391 h 458"/>
                <a:gd name="T32" fmla="*/ 352 w 498"/>
                <a:gd name="T33" fmla="*/ 443 h 458"/>
                <a:gd name="T34" fmla="*/ 374 w 498"/>
                <a:gd name="T35" fmla="*/ 452 h 458"/>
                <a:gd name="T36" fmla="*/ 392 w 498"/>
                <a:gd name="T37" fmla="*/ 433 h 458"/>
                <a:gd name="T38" fmla="*/ 402 w 498"/>
                <a:gd name="T39" fmla="*/ 442 h 458"/>
                <a:gd name="T40" fmla="*/ 411 w 498"/>
                <a:gd name="T41" fmla="*/ 455 h 458"/>
                <a:gd name="T42" fmla="*/ 427 w 498"/>
                <a:gd name="T43" fmla="*/ 433 h 458"/>
                <a:gd name="T44" fmla="*/ 455 w 498"/>
                <a:gd name="T45" fmla="*/ 421 h 458"/>
                <a:gd name="T46" fmla="*/ 457 w 498"/>
                <a:gd name="T47" fmla="*/ 402 h 458"/>
                <a:gd name="T48" fmla="*/ 467 w 498"/>
                <a:gd name="T49" fmla="*/ 357 h 458"/>
                <a:gd name="T50" fmla="*/ 486 w 498"/>
                <a:gd name="T51" fmla="*/ 335 h 458"/>
                <a:gd name="T52" fmla="*/ 492 w 498"/>
                <a:gd name="T53" fmla="*/ 291 h 458"/>
                <a:gd name="T54" fmla="*/ 492 w 498"/>
                <a:gd name="T55" fmla="*/ 234 h 458"/>
                <a:gd name="T56" fmla="*/ 466 w 498"/>
                <a:gd name="T57" fmla="*/ 199 h 458"/>
                <a:gd name="T58" fmla="*/ 447 w 498"/>
                <a:gd name="T59" fmla="*/ 154 h 458"/>
                <a:gd name="T60" fmla="*/ 435 w 498"/>
                <a:gd name="T61" fmla="*/ 137 h 458"/>
                <a:gd name="T62" fmla="*/ 407 w 498"/>
                <a:gd name="T63" fmla="*/ 92 h 458"/>
                <a:gd name="T64" fmla="*/ 393 w 498"/>
                <a:gd name="T65" fmla="*/ 56 h 458"/>
                <a:gd name="T66" fmla="*/ 378 w 498"/>
                <a:gd name="T67" fmla="*/ 43 h 458"/>
                <a:gd name="T68" fmla="*/ 352 w 498"/>
                <a:gd name="T69" fmla="*/ 39 h 458"/>
                <a:gd name="T70" fmla="*/ 348 w 498"/>
                <a:gd name="T71" fmla="*/ 88 h 458"/>
                <a:gd name="T72" fmla="*/ 333 w 498"/>
                <a:gd name="T73" fmla="*/ 104 h 458"/>
                <a:gd name="T74" fmla="*/ 317 w 498"/>
                <a:gd name="T75" fmla="*/ 91 h 458"/>
                <a:gd name="T76" fmla="*/ 284 w 498"/>
                <a:gd name="T77" fmla="*/ 67 h 458"/>
                <a:gd name="T78" fmla="*/ 285 w 498"/>
                <a:gd name="T79" fmla="*/ 36 h 458"/>
                <a:gd name="T80" fmla="*/ 294 w 498"/>
                <a:gd name="T81" fmla="*/ 22 h 458"/>
                <a:gd name="T82" fmla="*/ 258 w 498"/>
                <a:gd name="T83" fmla="*/ 14 h 458"/>
                <a:gd name="T84" fmla="*/ 239 w 498"/>
                <a:gd name="T85" fmla="*/ 5 h 458"/>
                <a:gd name="T86" fmla="*/ 245 w 498"/>
                <a:gd name="T87" fmla="*/ 20 h 458"/>
                <a:gd name="T88" fmla="*/ 221 w 498"/>
                <a:gd name="T89" fmla="*/ 23 h 458"/>
                <a:gd name="T90" fmla="*/ 209 w 498"/>
                <a:gd name="T91" fmla="*/ 37 h 458"/>
                <a:gd name="T92" fmla="*/ 204 w 498"/>
                <a:gd name="T93" fmla="*/ 60 h 458"/>
                <a:gd name="T94" fmla="*/ 184 w 498"/>
                <a:gd name="T95" fmla="*/ 59 h 458"/>
                <a:gd name="T96" fmla="*/ 162 w 498"/>
                <a:gd name="T97" fmla="*/ 47 h 458"/>
                <a:gd name="T98" fmla="*/ 152 w 498"/>
                <a:gd name="T99" fmla="*/ 62 h 458"/>
                <a:gd name="T100" fmla="*/ 142 w 498"/>
                <a:gd name="T101" fmla="*/ 67 h 458"/>
                <a:gd name="T102" fmla="*/ 133 w 498"/>
                <a:gd name="T103" fmla="*/ 89 h 458"/>
                <a:gd name="T104" fmla="*/ 114 w 498"/>
                <a:gd name="T105" fmla="*/ 92 h 458"/>
                <a:gd name="T106" fmla="*/ 103 w 498"/>
                <a:gd name="T107" fmla="*/ 121 h 458"/>
                <a:gd name="T108" fmla="*/ 75 w 498"/>
                <a:gd name="T109" fmla="*/ 136 h 458"/>
                <a:gd name="T110" fmla="*/ 57 w 498"/>
                <a:gd name="T111" fmla="*/ 148 h 458"/>
                <a:gd name="T112" fmla="*/ 36 w 498"/>
                <a:gd name="T113" fmla="*/ 152 h 458"/>
                <a:gd name="T114" fmla="*/ 11 w 498"/>
                <a:gd name="T115" fmla="*/ 170 h 458"/>
                <a:gd name="T116" fmla="*/ 6 w 498"/>
                <a:gd name="T117" fmla="*/ 199 h 458"/>
                <a:gd name="T118" fmla="*/ 11 w 498"/>
                <a:gd name="T119" fmla="*/ 228 h 458"/>
                <a:gd name="T120" fmla="*/ 12 w 498"/>
                <a:gd name="T121" fmla="*/ 245 h 458"/>
                <a:gd name="T122" fmla="*/ 13 w 498"/>
                <a:gd name="T123" fmla="*/ 263 h 4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98"/>
                <a:gd name="T187" fmla="*/ 0 h 458"/>
                <a:gd name="T188" fmla="*/ 498 w 498"/>
                <a:gd name="T189" fmla="*/ 458 h 45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98" h="458">
                  <a:moveTo>
                    <a:pt x="21" y="274"/>
                  </a:moveTo>
                  <a:lnTo>
                    <a:pt x="21" y="275"/>
                  </a:lnTo>
                  <a:lnTo>
                    <a:pt x="21" y="276"/>
                  </a:lnTo>
                  <a:lnTo>
                    <a:pt x="20" y="278"/>
                  </a:lnTo>
                  <a:lnTo>
                    <a:pt x="19" y="279"/>
                  </a:lnTo>
                  <a:lnTo>
                    <a:pt x="19" y="280"/>
                  </a:lnTo>
                  <a:lnTo>
                    <a:pt x="21" y="283"/>
                  </a:lnTo>
                  <a:lnTo>
                    <a:pt x="23" y="285"/>
                  </a:lnTo>
                  <a:lnTo>
                    <a:pt x="23" y="289"/>
                  </a:lnTo>
                  <a:lnTo>
                    <a:pt x="24" y="292"/>
                  </a:lnTo>
                  <a:lnTo>
                    <a:pt x="24" y="299"/>
                  </a:lnTo>
                  <a:lnTo>
                    <a:pt x="24" y="309"/>
                  </a:lnTo>
                  <a:lnTo>
                    <a:pt x="28" y="311"/>
                  </a:lnTo>
                  <a:lnTo>
                    <a:pt x="29" y="315"/>
                  </a:lnTo>
                  <a:lnTo>
                    <a:pt x="30" y="319"/>
                  </a:lnTo>
                  <a:lnTo>
                    <a:pt x="30" y="328"/>
                  </a:lnTo>
                  <a:lnTo>
                    <a:pt x="32" y="328"/>
                  </a:lnTo>
                  <a:lnTo>
                    <a:pt x="33" y="335"/>
                  </a:lnTo>
                  <a:lnTo>
                    <a:pt x="32" y="342"/>
                  </a:lnTo>
                  <a:lnTo>
                    <a:pt x="31" y="351"/>
                  </a:lnTo>
                  <a:lnTo>
                    <a:pt x="30" y="360"/>
                  </a:lnTo>
                  <a:lnTo>
                    <a:pt x="27" y="360"/>
                  </a:lnTo>
                  <a:lnTo>
                    <a:pt x="24" y="360"/>
                  </a:lnTo>
                  <a:lnTo>
                    <a:pt x="21" y="360"/>
                  </a:lnTo>
                  <a:lnTo>
                    <a:pt x="22" y="364"/>
                  </a:lnTo>
                  <a:lnTo>
                    <a:pt x="24" y="368"/>
                  </a:lnTo>
                  <a:lnTo>
                    <a:pt x="27" y="369"/>
                  </a:lnTo>
                  <a:lnTo>
                    <a:pt x="29" y="370"/>
                  </a:lnTo>
                  <a:lnTo>
                    <a:pt x="32" y="371"/>
                  </a:lnTo>
                  <a:lnTo>
                    <a:pt x="34" y="372"/>
                  </a:lnTo>
                  <a:lnTo>
                    <a:pt x="35" y="373"/>
                  </a:lnTo>
                  <a:lnTo>
                    <a:pt x="35" y="375"/>
                  </a:lnTo>
                  <a:lnTo>
                    <a:pt x="35" y="377"/>
                  </a:lnTo>
                  <a:lnTo>
                    <a:pt x="36" y="378"/>
                  </a:lnTo>
                  <a:lnTo>
                    <a:pt x="38" y="379"/>
                  </a:lnTo>
                  <a:lnTo>
                    <a:pt x="40" y="379"/>
                  </a:lnTo>
                  <a:lnTo>
                    <a:pt x="43" y="379"/>
                  </a:lnTo>
                  <a:lnTo>
                    <a:pt x="45" y="378"/>
                  </a:lnTo>
                  <a:lnTo>
                    <a:pt x="48" y="378"/>
                  </a:lnTo>
                  <a:lnTo>
                    <a:pt x="53" y="382"/>
                  </a:lnTo>
                  <a:lnTo>
                    <a:pt x="57" y="381"/>
                  </a:lnTo>
                  <a:lnTo>
                    <a:pt x="59" y="381"/>
                  </a:lnTo>
                  <a:lnTo>
                    <a:pt x="61" y="379"/>
                  </a:lnTo>
                  <a:lnTo>
                    <a:pt x="63" y="377"/>
                  </a:lnTo>
                  <a:lnTo>
                    <a:pt x="66" y="373"/>
                  </a:lnTo>
                  <a:lnTo>
                    <a:pt x="69" y="368"/>
                  </a:lnTo>
                  <a:lnTo>
                    <a:pt x="72" y="372"/>
                  </a:lnTo>
                  <a:lnTo>
                    <a:pt x="73" y="373"/>
                  </a:lnTo>
                  <a:lnTo>
                    <a:pt x="74" y="373"/>
                  </a:lnTo>
                  <a:lnTo>
                    <a:pt x="75" y="374"/>
                  </a:lnTo>
                  <a:lnTo>
                    <a:pt x="76" y="374"/>
                  </a:lnTo>
                  <a:lnTo>
                    <a:pt x="77" y="373"/>
                  </a:lnTo>
                  <a:lnTo>
                    <a:pt x="77" y="372"/>
                  </a:lnTo>
                  <a:lnTo>
                    <a:pt x="77" y="369"/>
                  </a:lnTo>
                  <a:lnTo>
                    <a:pt x="76" y="364"/>
                  </a:lnTo>
                  <a:lnTo>
                    <a:pt x="79" y="365"/>
                  </a:lnTo>
                  <a:lnTo>
                    <a:pt x="84" y="366"/>
                  </a:lnTo>
                  <a:lnTo>
                    <a:pt x="89" y="365"/>
                  </a:lnTo>
                  <a:lnTo>
                    <a:pt x="95" y="363"/>
                  </a:lnTo>
                  <a:lnTo>
                    <a:pt x="102" y="361"/>
                  </a:lnTo>
                  <a:lnTo>
                    <a:pt x="107" y="360"/>
                  </a:lnTo>
                  <a:lnTo>
                    <a:pt x="109" y="361"/>
                  </a:lnTo>
                  <a:lnTo>
                    <a:pt x="109" y="362"/>
                  </a:lnTo>
                  <a:lnTo>
                    <a:pt x="110" y="364"/>
                  </a:lnTo>
                  <a:lnTo>
                    <a:pt x="111" y="364"/>
                  </a:lnTo>
                  <a:lnTo>
                    <a:pt x="113" y="364"/>
                  </a:lnTo>
                  <a:lnTo>
                    <a:pt x="115" y="362"/>
                  </a:lnTo>
                  <a:lnTo>
                    <a:pt x="119" y="360"/>
                  </a:lnTo>
                  <a:lnTo>
                    <a:pt x="120" y="361"/>
                  </a:lnTo>
                  <a:lnTo>
                    <a:pt x="121" y="361"/>
                  </a:lnTo>
                  <a:lnTo>
                    <a:pt x="123" y="362"/>
                  </a:lnTo>
                  <a:lnTo>
                    <a:pt x="125" y="363"/>
                  </a:lnTo>
                  <a:lnTo>
                    <a:pt x="127" y="363"/>
                  </a:lnTo>
                  <a:lnTo>
                    <a:pt x="128" y="362"/>
                  </a:lnTo>
                  <a:lnTo>
                    <a:pt x="130" y="361"/>
                  </a:lnTo>
                  <a:lnTo>
                    <a:pt x="131" y="360"/>
                  </a:lnTo>
                  <a:lnTo>
                    <a:pt x="132" y="358"/>
                  </a:lnTo>
                  <a:lnTo>
                    <a:pt x="132" y="356"/>
                  </a:lnTo>
                  <a:lnTo>
                    <a:pt x="134" y="352"/>
                  </a:lnTo>
                  <a:lnTo>
                    <a:pt x="136" y="349"/>
                  </a:lnTo>
                  <a:lnTo>
                    <a:pt x="137" y="348"/>
                  </a:lnTo>
                  <a:lnTo>
                    <a:pt x="139" y="348"/>
                  </a:lnTo>
                  <a:lnTo>
                    <a:pt x="141" y="348"/>
                  </a:lnTo>
                  <a:lnTo>
                    <a:pt x="143" y="349"/>
                  </a:lnTo>
                  <a:lnTo>
                    <a:pt x="144" y="349"/>
                  </a:lnTo>
                  <a:lnTo>
                    <a:pt x="145" y="349"/>
                  </a:lnTo>
                  <a:lnTo>
                    <a:pt x="145" y="345"/>
                  </a:lnTo>
                  <a:lnTo>
                    <a:pt x="146" y="344"/>
                  </a:lnTo>
                  <a:lnTo>
                    <a:pt x="147" y="344"/>
                  </a:lnTo>
                  <a:lnTo>
                    <a:pt x="149" y="344"/>
                  </a:lnTo>
                  <a:lnTo>
                    <a:pt x="151" y="344"/>
                  </a:lnTo>
                  <a:lnTo>
                    <a:pt x="153" y="343"/>
                  </a:lnTo>
                  <a:lnTo>
                    <a:pt x="154" y="342"/>
                  </a:lnTo>
                  <a:lnTo>
                    <a:pt x="154" y="340"/>
                  </a:lnTo>
                  <a:lnTo>
                    <a:pt x="154" y="338"/>
                  </a:lnTo>
                  <a:lnTo>
                    <a:pt x="155" y="337"/>
                  </a:lnTo>
                  <a:lnTo>
                    <a:pt x="157" y="337"/>
                  </a:lnTo>
                  <a:lnTo>
                    <a:pt x="157" y="336"/>
                  </a:lnTo>
                  <a:lnTo>
                    <a:pt x="159" y="335"/>
                  </a:lnTo>
                  <a:lnTo>
                    <a:pt x="162" y="336"/>
                  </a:lnTo>
                  <a:lnTo>
                    <a:pt x="165" y="337"/>
                  </a:lnTo>
                  <a:lnTo>
                    <a:pt x="168" y="337"/>
                  </a:lnTo>
                  <a:lnTo>
                    <a:pt x="174" y="337"/>
                  </a:lnTo>
                  <a:lnTo>
                    <a:pt x="181" y="335"/>
                  </a:lnTo>
                  <a:lnTo>
                    <a:pt x="197" y="329"/>
                  </a:lnTo>
                  <a:lnTo>
                    <a:pt x="213" y="325"/>
                  </a:lnTo>
                  <a:lnTo>
                    <a:pt x="218" y="324"/>
                  </a:lnTo>
                  <a:lnTo>
                    <a:pt x="221" y="324"/>
                  </a:lnTo>
                  <a:lnTo>
                    <a:pt x="224" y="324"/>
                  </a:lnTo>
                  <a:lnTo>
                    <a:pt x="227" y="324"/>
                  </a:lnTo>
                  <a:lnTo>
                    <a:pt x="228" y="325"/>
                  </a:lnTo>
                  <a:lnTo>
                    <a:pt x="230" y="326"/>
                  </a:lnTo>
                  <a:lnTo>
                    <a:pt x="231" y="329"/>
                  </a:lnTo>
                  <a:lnTo>
                    <a:pt x="233" y="332"/>
                  </a:lnTo>
                  <a:lnTo>
                    <a:pt x="234" y="333"/>
                  </a:lnTo>
                  <a:lnTo>
                    <a:pt x="235" y="334"/>
                  </a:lnTo>
                  <a:lnTo>
                    <a:pt x="237" y="334"/>
                  </a:lnTo>
                  <a:lnTo>
                    <a:pt x="239" y="334"/>
                  </a:lnTo>
                  <a:lnTo>
                    <a:pt x="243" y="333"/>
                  </a:lnTo>
                  <a:lnTo>
                    <a:pt x="249" y="332"/>
                  </a:lnTo>
                  <a:lnTo>
                    <a:pt x="251" y="333"/>
                  </a:lnTo>
                  <a:lnTo>
                    <a:pt x="254" y="334"/>
                  </a:lnTo>
                  <a:lnTo>
                    <a:pt x="254" y="336"/>
                  </a:lnTo>
                  <a:lnTo>
                    <a:pt x="255" y="337"/>
                  </a:lnTo>
                  <a:lnTo>
                    <a:pt x="256" y="338"/>
                  </a:lnTo>
                  <a:lnTo>
                    <a:pt x="255" y="340"/>
                  </a:lnTo>
                  <a:lnTo>
                    <a:pt x="254" y="341"/>
                  </a:lnTo>
                  <a:lnTo>
                    <a:pt x="260" y="342"/>
                  </a:lnTo>
                  <a:lnTo>
                    <a:pt x="261" y="342"/>
                  </a:lnTo>
                  <a:lnTo>
                    <a:pt x="262" y="343"/>
                  </a:lnTo>
                  <a:lnTo>
                    <a:pt x="261" y="344"/>
                  </a:lnTo>
                  <a:lnTo>
                    <a:pt x="260" y="345"/>
                  </a:lnTo>
                  <a:lnTo>
                    <a:pt x="259" y="346"/>
                  </a:lnTo>
                  <a:lnTo>
                    <a:pt x="260" y="347"/>
                  </a:lnTo>
                  <a:lnTo>
                    <a:pt x="258" y="347"/>
                  </a:lnTo>
                  <a:lnTo>
                    <a:pt x="259" y="349"/>
                  </a:lnTo>
                  <a:lnTo>
                    <a:pt x="260" y="350"/>
                  </a:lnTo>
                  <a:lnTo>
                    <a:pt x="260" y="351"/>
                  </a:lnTo>
                  <a:lnTo>
                    <a:pt x="265" y="352"/>
                  </a:lnTo>
                  <a:lnTo>
                    <a:pt x="269" y="353"/>
                  </a:lnTo>
                  <a:lnTo>
                    <a:pt x="270" y="362"/>
                  </a:lnTo>
                  <a:lnTo>
                    <a:pt x="271" y="366"/>
                  </a:lnTo>
                  <a:lnTo>
                    <a:pt x="273" y="372"/>
                  </a:lnTo>
                  <a:lnTo>
                    <a:pt x="274" y="372"/>
                  </a:lnTo>
                  <a:lnTo>
                    <a:pt x="276" y="373"/>
                  </a:lnTo>
                  <a:lnTo>
                    <a:pt x="279" y="374"/>
                  </a:lnTo>
                  <a:lnTo>
                    <a:pt x="290" y="359"/>
                  </a:lnTo>
                  <a:lnTo>
                    <a:pt x="293" y="359"/>
                  </a:lnTo>
                  <a:lnTo>
                    <a:pt x="296" y="359"/>
                  </a:lnTo>
                  <a:lnTo>
                    <a:pt x="299" y="353"/>
                  </a:lnTo>
                  <a:lnTo>
                    <a:pt x="301" y="350"/>
                  </a:lnTo>
                  <a:lnTo>
                    <a:pt x="302" y="349"/>
                  </a:lnTo>
                  <a:lnTo>
                    <a:pt x="303" y="349"/>
                  </a:lnTo>
                  <a:lnTo>
                    <a:pt x="304" y="349"/>
                  </a:lnTo>
                  <a:lnTo>
                    <a:pt x="305" y="350"/>
                  </a:lnTo>
                  <a:lnTo>
                    <a:pt x="305" y="351"/>
                  </a:lnTo>
                  <a:lnTo>
                    <a:pt x="305" y="355"/>
                  </a:lnTo>
                  <a:lnTo>
                    <a:pt x="303" y="358"/>
                  </a:lnTo>
                  <a:lnTo>
                    <a:pt x="300" y="366"/>
                  </a:lnTo>
                  <a:lnTo>
                    <a:pt x="298" y="370"/>
                  </a:lnTo>
                  <a:lnTo>
                    <a:pt x="298" y="373"/>
                  </a:lnTo>
                  <a:lnTo>
                    <a:pt x="299" y="376"/>
                  </a:lnTo>
                  <a:lnTo>
                    <a:pt x="300" y="378"/>
                  </a:lnTo>
                  <a:lnTo>
                    <a:pt x="300" y="379"/>
                  </a:lnTo>
                  <a:lnTo>
                    <a:pt x="300" y="380"/>
                  </a:lnTo>
                  <a:lnTo>
                    <a:pt x="298" y="380"/>
                  </a:lnTo>
                  <a:lnTo>
                    <a:pt x="296" y="381"/>
                  </a:lnTo>
                  <a:lnTo>
                    <a:pt x="294" y="381"/>
                  </a:lnTo>
                  <a:lnTo>
                    <a:pt x="292" y="382"/>
                  </a:lnTo>
                  <a:lnTo>
                    <a:pt x="292" y="385"/>
                  </a:lnTo>
                  <a:lnTo>
                    <a:pt x="295" y="384"/>
                  </a:lnTo>
                  <a:lnTo>
                    <a:pt x="296" y="384"/>
                  </a:lnTo>
                  <a:lnTo>
                    <a:pt x="301" y="381"/>
                  </a:lnTo>
                  <a:lnTo>
                    <a:pt x="302" y="380"/>
                  </a:lnTo>
                  <a:lnTo>
                    <a:pt x="303" y="379"/>
                  </a:lnTo>
                  <a:lnTo>
                    <a:pt x="303" y="376"/>
                  </a:lnTo>
                  <a:lnTo>
                    <a:pt x="304" y="370"/>
                  </a:lnTo>
                  <a:lnTo>
                    <a:pt x="310" y="370"/>
                  </a:lnTo>
                  <a:lnTo>
                    <a:pt x="309" y="371"/>
                  </a:lnTo>
                  <a:lnTo>
                    <a:pt x="308" y="372"/>
                  </a:lnTo>
                  <a:lnTo>
                    <a:pt x="307" y="373"/>
                  </a:lnTo>
                  <a:lnTo>
                    <a:pt x="307" y="374"/>
                  </a:lnTo>
                  <a:lnTo>
                    <a:pt x="308" y="374"/>
                  </a:lnTo>
                  <a:lnTo>
                    <a:pt x="309" y="375"/>
                  </a:lnTo>
                  <a:lnTo>
                    <a:pt x="310" y="376"/>
                  </a:lnTo>
                  <a:lnTo>
                    <a:pt x="312" y="381"/>
                  </a:lnTo>
                  <a:lnTo>
                    <a:pt x="313" y="385"/>
                  </a:lnTo>
                  <a:lnTo>
                    <a:pt x="313" y="387"/>
                  </a:lnTo>
                  <a:lnTo>
                    <a:pt x="313" y="389"/>
                  </a:lnTo>
                  <a:lnTo>
                    <a:pt x="312" y="395"/>
                  </a:lnTo>
                  <a:lnTo>
                    <a:pt x="317" y="393"/>
                  </a:lnTo>
                  <a:lnTo>
                    <a:pt x="323" y="391"/>
                  </a:lnTo>
                  <a:lnTo>
                    <a:pt x="327" y="409"/>
                  </a:lnTo>
                  <a:lnTo>
                    <a:pt x="329" y="417"/>
                  </a:lnTo>
                  <a:lnTo>
                    <a:pt x="329" y="426"/>
                  </a:lnTo>
                  <a:lnTo>
                    <a:pt x="333" y="427"/>
                  </a:lnTo>
                  <a:lnTo>
                    <a:pt x="335" y="428"/>
                  </a:lnTo>
                  <a:lnTo>
                    <a:pt x="336" y="430"/>
                  </a:lnTo>
                  <a:lnTo>
                    <a:pt x="338" y="431"/>
                  </a:lnTo>
                  <a:lnTo>
                    <a:pt x="338" y="433"/>
                  </a:lnTo>
                  <a:lnTo>
                    <a:pt x="339" y="436"/>
                  </a:lnTo>
                  <a:lnTo>
                    <a:pt x="340" y="437"/>
                  </a:lnTo>
                  <a:lnTo>
                    <a:pt x="346" y="440"/>
                  </a:lnTo>
                  <a:lnTo>
                    <a:pt x="352" y="443"/>
                  </a:lnTo>
                  <a:lnTo>
                    <a:pt x="353" y="440"/>
                  </a:lnTo>
                  <a:lnTo>
                    <a:pt x="354" y="439"/>
                  </a:lnTo>
                  <a:lnTo>
                    <a:pt x="356" y="439"/>
                  </a:lnTo>
                  <a:lnTo>
                    <a:pt x="357" y="440"/>
                  </a:lnTo>
                  <a:lnTo>
                    <a:pt x="358" y="441"/>
                  </a:lnTo>
                  <a:lnTo>
                    <a:pt x="360" y="444"/>
                  </a:lnTo>
                  <a:lnTo>
                    <a:pt x="361" y="447"/>
                  </a:lnTo>
                  <a:lnTo>
                    <a:pt x="363" y="449"/>
                  </a:lnTo>
                  <a:lnTo>
                    <a:pt x="366" y="451"/>
                  </a:lnTo>
                  <a:lnTo>
                    <a:pt x="369" y="452"/>
                  </a:lnTo>
                  <a:lnTo>
                    <a:pt x="373" y="453"/>
                  </a:lnTo>
                  <a:lnTo>
                    <a:pt x="374" y="452"/>
                  </a:lnTo>
                  <a:lnTo>
                    <a:pt x="376" y="452"/>
                  </a:lnTo>
                  <a:lnTo>
                    <a:pt x="378" y="450"/>
                  </a:lnTo>
                  <a:lnTo>
                    <a:pt x="381" y="445"/>
                  </a:lnTo>
                  <a:lnTo>
                    <a:pt x="383" y="442"/>
                  </a:lnTo>
                  <a:lnTo>
                    <a:pt x="384" y="441"/>
                  </a:lnTo>
                  <a:lnTo>
                    <a:pt x="388" y="441"/>
                  </a:lnTo>
                  <a:lnTo>
                    <a:pt x="387" y="439"/>
                  </a:lnTo>
                  <a:lnTo>
                    <a:pt x="386" y="438"/>
                  </a:lnTo>
                  <a:lnTo>
                    <a:pt x="386" y="437"/>
                  </a:lnTo>
                  <a:lnTo>
                    <a:pt x="388" y="436"/>
                  </a:lnTo>
                  <a:lnTo>
                    <a:pt x="390" y="434"/>
                  </a:lnTo>
                  <a:lnTo>
                    <a:pt x="392" y="433"/>
                  </a:lnTo>
                  <a:lnTo>
                    <a:pt x="394" y="432"/>
                  </a:lnTo>
                  <a:lnTo>
                    <a:pt x="394" y="434"/>
                  </a:lnTo>
                  <a:lnTo>
                    <a:pt x="394" y="435"/>
                  </a:lnTo>
                  <a:lnTo>
                    <a:pt x="395" y="436"/>
                  </a:lnTo>
                  <a:lnTo>
                    <a:pt x="396" y="437"/>
                  </a:lnTo>
                  <a:lnTo>
                    <a:pt x="393" y="440"/>
                  </a:lnTo>
                  <a:lnTo>
                    <a:pt x="391" y="441"/>
                  </a:lnTo>
                  <a:lnTo>
                    <a:pt x="390" y="443"/>
                  </a:lnTo>
                  <a:lnTo>
                    <a:pt x="395" y="442"/>
                  </a:lnTo>
                  <a:lnTo>
                    <a:pt x="400" y="440"/>
                  </a:lnTo>
                  <a:lnTo>
                    <a:pt x="402" y="441"/>
                  </a:lnTo>
                  <a:lnTo>
                    <a:pt x="402" y="442"/>
                  </a:lnTo>
                  <a:lnTo>
                    <a:pt x="400" y="444"/>
                  </a:lnTo>
                  <a:lnTo>
                    <a:pt x="396" y="447"/>
                  </a:lnTo>
                  <a:lnTo>
                    <a:pt x="402" y="450"/>
                  </a:lnTo>
                  <a:lnTo>
                    <a:pt x="405" y="451"/>
                  </a:lnTo>
                  <a:lnTo>
                    <a:pt x="407" y="453"/>
                  </a:lnTo>
                  <a:lnTo>
                    <a:pt x="408" y="454"/>
                  </a:lnTo>
                  <a:lnTo>
                    <a:pt x="408" y="456"/>
                  </a:lnTo>
                  <a:lnTo>
                    <a:pt x="409" y="457"/>
                  </a:lnTo>
                  <a:lnTo>
                    <a:pt x="409" y="458"/>
                  </a:lnTo>
                  <a:lnTo>
                    <a:pt x="410" y="458"/>
                  </a:lnTo>
                  <a:lnTo>
                    <a:pt x="410" y="457"/>
                  </a:lnTo>
                  <a:lnTo>
                    <a:pt x="411" y="455"/>
                  </a:lnTo>
                  <a:lnTo>
                    <a:pt x="411" y="454"/>
                  </a:lnTo>
                  <a:lnTo>
                    <a:pt x="411" y="453"/>
                  </a:lnTo>
                  <a:lnTo>
                    <a:pt x="412" y="452"/>
                  </a:lnTo>
                  <a:lnTo>
                    <a:pt x="414" y="452"/>
                  </a:lnTo>
                  <a:lnTo>
                    <a:pt x="416" y="453"/>
                  </a:lnTo>
                  <a:lnTo>
                    <a:pt x="417" y="453"/>
                  </a:lnTo>
                  <a:lnTo>
                    <a:pt x="419" y="451"/>
                  </a:lnTo>
                  <a:lnTo>
                    <a:pt x="420" y="450"/>
                  </a:lnTo>
                  <a:lnTo>
                    <a:pt x="421" y="449"/>
                  </a:lnTo>
                  <a:lnTo>
                    <a:pt x="424" y="443"/>
                  </a:lnTo>
                  <a:lnTo>
                    <a:pt x="426" y="437"/>
                  </a:lnTo>
                  <a:lnTo>
                    <a:pt x="427" y="433"/>
                  </a:lnTo>
                  <a:lnTo>
                    <a:pt x="433" y="433"/>
                  </a:lnTo>
                  <a:lnTo>
                    <a:pt x="440" y="434"/>
                  </a:lnTo>
                  <a:lnTo>
                    <a:pt x="446" y="434"/>
                  </a:lnTo>
                  <a:lnTo>
                    <a:pt x="450" y="433"/>
                  </a:lnTo>
                  <a:lnTo>
                    <a:pt x="451" y="432"/>
                  </a:lnTo>
                  <a:lnTo>
                    <a:pt x="452" y="430"/>
                  </a:lnTo>
                  <a:lnTo>
                    <a:pt x="454" y="430"/>
                  </a:lnTo>
                  <a:lnTo>
                    <a:pt x="454" y="427"/>
                  </a:lnTo>
                  <a:lnTo>
                    <a:pt x="454" y="425"/>
                  </a:lnTo>
                  <a:lnTo>
                    <a:pt x="455" y="423"/>
                  </a:lnTo>
                  <a:lnTo>
                    <a:pt x="455" y="422"/>
                  </a:lnTo>
                  <a:lnTo>
                    <a:pt x="455" y="421"/>
                  </a:lnTo>
                  <a:lnTo>
                    <a:pt x="454" y="420"/>
                  </a:lnTo>
                  <a:lnTo>
                    <a:pt x="452" y="419"/>
                  </a:lnTo>
                  <a:lnTo>
                    <a:pt x="451" y="418"/>
                  </a:lnTo>
                  <a:lnTo>
                    <a:pt x="450" y="417"/>
                  </a:lnTo>
                  <a:lnTo>
                    <a:pt x="450" y="416"/>
                  </a:lnTo>
                  <a:lnTo>
                    <a:pt x="450" y="414"/>
                  </a:lnTo>
                  <a:lnTo>
                    <a:pt x="451" y="413"/>
                  </a:lnTo>
                  <a:lnTo>
                    <a:pt x="452" y="412"/>
                  </a:lnTo>
                  <a:lnTo>
                    <a:pt x="455" y="410"/>
                  </a:lnTo>
                  <a:lnTo>
                    <a:pt x="456" y="408"/>
                  </a:lnTo>
                  <a:lnTo>
                    <a:pt x="457" y="406"/>
                  </a:lnTo>
                  <a:lnTo>
                    <a:pt x="457" y="402"/>
                  </a:lnTo>
                  <a:lnTo>
                    <a:pt x="457" y="398"/>
                  </a:lnTo>
                  <a:lnTo>
                    <a:pt x="457" y="393"/>
                  </a:lnTo>
                  <a:lnTo>
                    <a:pt x="459" y="389"/>
                  </a:lnTo>
                  <a:lnTo>
                    <a:pt x="462" y="384"/>
                  </a:lnTo>
                  <a:lnTo>
                    <a:pt x="465" y="379"/>
                  </a:lnTo>
                  <a:lnTo>
                    <a:pt x="467" y="374"/>
                  </a:lnTo>
                  <a:lnTo>
                    <a:pt x="467" y="371"/>
                  </a:lnTo>
                  <a:lnTo>
                    <a:pt x="467" y="369"/>
                  </a:lnTo>
                  <a:lnTo>
                    <a:pt x="467" y="364"/>
                  </a:lnTo>
                  <a:lnTo>
                    <a:pt x="466" y="360"/>
                  </a:lnTo>
                  <a:lnTo>
                    <a:pt x="467" y="358"/>
                  </a:lnTo>
                  <a:lnTo>
                    <a:pt x="467" y="357"/>
                  </a:lnTo>
                  <a:lnTo>
                    <a:pt x="470" y="357"/>
                  </a:lnTo>
                  <a:lnTo>
                    <a:pt x="473" y="357"/>
                  </a:lnTo>
                  <a:lnTo>
                    <a:pt x="473" y="354"/>
                  </a:lnTo>
                  <a:lnTo>
                    <a:pt x="473" y="351"/>
                  </a:lnTo>
                  <a:lnTo>
                    <a:pt x="474" y="350"/>
                  </a:lnTo>
                  <a:lnTo>
                    <a:pt x="475" y="349"/>
                  </a:lnTo>
                  <a:lnTo>
                    <a:pt x="479" y="347"/>
                  </a:lnTo>
                  <a:lnTo>
                    <a:pt x="486" y="343"/>
                  </a:lnTo>
                  <a:lnTo>
                    <a:pt x="486" y="339"/>
                  </a:lnTo>
                  <a:lnTo>
                    <a:pt x="486" y="340"/>
                  </a:lnTo>
                  <a:lnTo>
                    <a:pt x="485" y="338"/>
                  </a:lnTo>
                  <a:lnTo>
                    <a:pt x="486" y="335"/>
                  </a:lnTo>
                  <a:lnTo>
                    <a:pt x="486" y="334"/>
                  </a:lnTo>
                  <a:lnTo>
                    <a:pt x="490" y="334"/>
                  </a:lnTo>
                  <a:lnTo>
                    <a:pt x="491" y="330"/>
                  </a:lnTo>
                  <a:lnTo>
                    <a:pt x="492" y="328"/>
                  </a:lnTo>
                  <a:lnTo>
                    <a:pt x="492" y="324"/>
                  </a:lnTo>
                  <a:lnTo>
                    <a:pt x="492" y="320"/>
                  </a:lnTo>
                  <a:lnTo>
                    <a:pt x="492" y="316"/>
                  </a:lnTo>
                  <a:lnTo>
                    <a:pt x="492" y="312"/>
                  </a:lnTo>
                  <a:lnTo>
                    <a:pt x="492" y="308"/>
                  </a:lnTo>
                  <a:lnTo>
                    <a:pt x="492" y="303"/>
                  </a:lnTo>
                  <a:lnTo>
                    <a:pt x="492" y="297"/>
                  </a:lnTo>
                  <a:lnTo>
                    <a:pt x="492" y="291"/>
                  </a:lnTo>
                  <a:lnTo>
                    <a:pt x="496" y="291"/>
                  </a:lnTo>
                  <a:lnTo>
                    <a:pt x="497" y="287"/>
                  </a:lnTo>
                  <a:lnTo>
                    <a:pt x="498" y="284"/>
                  </a:lnTo>
                  <a:lnTo>
                    <a:pt x="498" y="280"/>
                  </a:lnTo>
                  <a:lnTo>
                    <a:pt x="497" y="277"/>
                  </a:lnTo>
                  <a:lnTo>
                    <a:pt x="496" y="272"/>
                  </a:lnTo>
                  <a:lnTo>
                    <a:pt x="493" y="265"/>
                  </a:lnTo>
                  <a:lnTo>
                    <a:pt x="490" y="259"/>
                  </a:lnTo>
                  <a:lnTo>
                    <a:pt x="490" y="252"/>
                  </a:lnTo>
                  <a:lnTo>
                    <a:pt x="491" y="243"/>
                  </a:lnTo>
                  <a:lnTo>
                    <a:pt x="492" y="239"/>
                  </a:lnTo>
                  <a:lnTo>
                    <a:pt x="492" y="234"/>
                  </a:lnTo>
                  <a:lnTo>
                    <a:pt x="491" y="230"/>
                  </a:lnTo>
                  <a:lnTo>
                    <a:pt x="490" y="226"/>
                  </a:lnTo>
                  <a:lnTo>
                    <a:pt x="479" y="218"/>
                  </a:lnTo>
                  <a:lnTo>
                    <a:pt x="478" y="217"/>
                  </a:lnTo>
                  <a:lnTo>
                    <a:pt x="478" y="215"/>
                  </a:lnTo>
                  <a:lnTo>
                    <a:pt x="479" y="212"/>
                  </a:lnTo>
                  <a:lnTo>
                    <a:pt x="479" y="211"/>
                  </a:lnTo>
                  <a:lnTo>
                    <a:pt x="476" y="209"/>
                  </a:lnTo>
                  <a:lnTo>
                    <a:pt x="473" y="206"/>
                  </a:lnTo>
                  <a:lnTo>
                    <a:pt x="467" y="203"/>
                  </a:lnTo>
                  <a:lnTo>
                    <a:pt x="466" y="201"/>
                  </a:lnTo>
                  <a:lnTo>
                    <a:pt x="466" y="199"/>
                  </a:lnTo>
                  <a:lnTo>
                    <a:pt x="465" y="194"/>
                  </a:lnTo>
                  <a:lnTo>
                    <a:pt x="465" y="184"/>
                  </a:lnTo>
                  <a:lnTo>
                    <a:pt x="461" y="182"/>
                  </a:lnTo>
                  <a:lnTo>
                    <a:pt x="458" y="180"/>
                  </a:lnTo>
                  <a:lnTo>
                    <a:pt x="454" y="178"/>
                  </a:lnTo>
                  <a:lnTo>
                    <a:pt x="452" y="177"/>
                  </a:lnTo>
                  <a:lnTo>
                    <a:pt x="450" y="176"/>
                  </a:lnTo>
                  <a:lnTo>
                    <a:pt x="450" y="169"/>
                  </a:lnTo>
                  <a:lnTo>
                    <a:pt x="450" y="162"/>
                  </a:lnTo>
                  <a:lnTo>
                    <a:pt x="449" y="158"/>
                  </a:lnTo>
                  <a:lnTo>
                    <a:pt x="448" y="156"/>
                  </a:lnTo>
                  <a:lnTo>
                    <a:pt x="447" y="154"/>
                  </a:lnTo>
                  <a:lnTo>
                    <a:pt x="444" y="152"/>
                  </a:lnTo>
                  <a:lnTo>
                    <a:pt x="440" y="152"/>
                  </a:lnTo>
                  <a:lnTo>
                    <a:pt x="441" y="150"/>
                  </a:lnTo>
                  <a:lnTo>
                    <a:pt x="442" y="148"/>
                  </a:lnTo>
                  <a:lnTo>
                    <a:pt x="443" y="147"/>
                  </a:lnTo>
                  <a:lnTo>
                    <a:pt x="444" y="146"/>
                  </a:lnTo>
                  <a:lnTo>
                    <a:pt x="444" y="145"/>
                  </a:lnTo>
                  <a:lnTo>
                    <a:pt x="443" y="144"/>
                  </a:lnTo>
                  <a:lnTo>
                    <a:pt x="442" y="144"/>
                  </a:lnTo>
                  <a:lnTo>
                    <a:pt x="442" y="143"/>
                  </a:lnTo>
                  <a:lnTo>
                    <a:pt x="442" y="141"/>
                  </a:lnTo>
                  <a:lnTo>
                    <a:pt x="435" y="137"/>
                  </a:lnTo>
                  <a:lnTo>
                    <a:pt x="425" y="132"/>
                  </a:lnTo>
                  <a:lnTo>
                    <a:pt x="416" y="127"/>
                  </a:lnTo>
                  <a:lnTo>
                    <a:pt x="413" y="125"/>
                  </a:lnTo>
                  <a:lnTo>
                    <a:pt x="411" y="123"/>
                  </a:lnTo>
                  <a:lnTo>
                    <a:pt x="410" y="120"/>
                  </a:lnTo>
                  <a:lnTo>
                    <a:pt x="410" y="117"/>
                  </a:lnTo>
                  <a:lnTo>
                    <a:pt x="410" y="110"/>
                  </a:lnTo>
                  <a:lnTo>
                    <a:pt x="410" y="103"/>
                  </a:lnTo>
                  <a:lnTo>
                    <a:pt x="410" y="100"/>
                  </a:lnTo>
                  <a:lnTo>
                    <a:pt x="409" y="96"/>
                  </a:lnTo>
                  <a:lnTo>
                    <a:pt x="409" y="94"/>
                  </a:lnTo>
                  <a:lnTo>
                    <a:pt x="407" y="92"/>
                  </a:lnTo>
                  <a:lnTo>
                    <a:pt x="405" y="88"/>
                  </a:lnTo>
                  <a:lnTo>
                    <a:pt x="402" y="85"/>
                  </a:lnTo>
                  <a:lnTo>
                    <a:pt x="401" y="83"/>
                  </a:lnTo>
                  <a:lnTo>
                    <a:pt x="400" y="81"/>
                  </a:lnTo>
                  <a:lnTo>
                    <a:pt x="399" y="78"/>
                  </a:lnTo>
                  <a:lnTo>
                    <a:pt x="399" y="75"/>
                  </a:lnTo>
                  <a:lnTo>
                    <a:pt x="400" y="69"/>
                  </a:lnTo>
                  <a:lnTo>
                    <a:pt x="401" y="63"/>
                  </a:lnTo>
                  <a:lnTo>
                    <a:pt x="400" y="61"/>
                  </a:lnTo>
                  <a:lnTo>
                    <a:pt x="400" y="58"/>
                  </a:lnTo>
                  <a:lnTo>
                    <a:pt x="394" y="58"/>
                  </a:lnTo>
                  <a:lnTo>
                    <a:pt x="393" y="56"/>
                  </a:lnTo>
                  <a:lnTo>
                    <a:pt x="392" y="54"/>
                  </a:lnTo>
                  <a:lnTo>
                    <a:pt x="390" y="54"/>
                  </a:lnTo>
                  <a:lnTo>
                    <a:pt x="390" y="48"/>
                  </a:lnTo>
                  <a:lnTo>
                    <a:pt x="384" y="50"/>
                  </a:lnTo>
                  <a:lnTo>
                    <a:pt x="384" y="54"/>
                  </a:lnTo>
                  <a:lnTo>
                    <a:pt x="383" y="54"/>
                  </a:lnTo>
                  <a:lnTo>
                    <a:pt x="382" y="54"/>
                  </a:lnTo>
                  <a:lnTo>
                    <a:pt x="381" y="54"/>
                  </a:lnTo>
                  <a:lnTo>
                    <a:pt x="381" y="53"/>
                  </a:lnTo>
                  <a:lnTo>
                    <a:pt x="380" y="52"/>
                  </a:lnTo>
                  <a:lnTo>
                    <a:pt x="379" y="52"/>
                  </a:lnTo>
                  <a:lnTo>
                    <a:pt x="378" y="43"/>
                  </a:lnTo>
                  <a:lnTo>
                    <a:pt x="377" y="36"/>
                  </a:lnTo>
                  <a:lnTo>
                    <a:pt x="376" y="29"/>
                  </a:lnTo>
                  <a:lnTo>
                    <a:pt x="374" y="23"/>
                  </a:lnTo>
                  <a:lnTo>
                    <a:pt x="372" y="17"/>
                  </a:lnTo>
                  <a:lnTo>
                    <a:pt x="369" y="12"/>
                  </a:lnTo>
                  <a:lnTo>
                    <a:pt x="363" y="0"/>
                  </a:lnTo>
                  <a:lnTo>
                    <a:pt x="358" y="0"/>
                  </a:lnTo>
                  <a:lnTo>
                    <a:pt x="356" y="11"/>
                  </a:lnTo>
                  <a:lnTo>
                    <a:pt x="355" y="20"/>
                  </a:lnTo>
                  <a:lnTo>
                    <a:pt x="355" y="28"/>
                  </a:lnTo>
                  <a:lnTo>
                    <a:pt x="356" y="37"/>
                  </a:lnTo>
                  <a:lnTo>
                    <a:pt x="352" y="39"/>
                  </a:lnTo>
                  <a:lnTo>
                    <a:pt x="351" y="44"/>
                  </a:lnTo>
                  <a:lnTo>
                    <a:pt x="352" y="50"/>
                  </a:lnTo>
                  <a:lnTo>
                    <a:pt x="353" y="59"/>
                  </a:lnTo>
                  <a:lnTo>
                    <a:pt x="353" y="64"/>
                  </a:lnTo>
                  <a:lnTo>
                    <a:pt x="353" y="69"/>
                  </a:lnTo>
                  <a:lnTo>
                    <a:pt x="353" y="74"/>
                  </a:lnTo>
                  <a:lnTo>
                    <a:pt x="352" y="79"/>
                  </a:lnTo>
                  <a:lnTo>
                    <a:pt x="350" y="80"/>
                  </a:lnTo>
                  <a:lnTo>
                    <a:pt x="348" y="81"/>
                  </a:lnTo>
                  <a:lnTo>
                    <a:pt x="348" y="83"/>
                  </a:lnTo>
                  <a:lnTo>
                    <a:pt x="348" y="86"/>
                  </a:lnTo>
                  <a:lnTo>
                    <a:pt x="348" y="88"/>
                  </a:lnTo>
                  <a:lnTo>
                    <a:pt x="348" y="91"/>
                  </a:lnTo>
                  <a:lnTo>
                    <a:pt x="344" y="94"/>
                  </a:lnTo>
                  <a:lnTo>
                    <a:pt x="344" y="98"/>
                  </a:lnTo>
                  <a:lnTo>
                    <a:pt x="344" y="102"/>
                  </a:lnTo>
                  <a:lnTo>
                    <a:pt x="343" y="103"/>
                  </a:lnTo>
                  <a:lnTo>
                    <a:pt x="342" y="103"/>
                  </a:lnTo>
                  <a:lnTo>
                    <a:pt x="341" y="103"/>
                  </a:lnTo>
                  <a:lnTo>
                    <a:pt x="340" y="104"/>
                  </a:lnTo>
                  <a:lnTo>
                    <a:pt x="339" y="104"/>
                  </a:lnTo>
                  <a:lnTo>
                    <a:pt x="338" y="104"/>
                  </a:lnTo>
                  <a:lnTo>
                    <a:pt x="335" y="104"/>
                  </a:lnTo>
                  <a:lnTo>
                    <a:pt x="333" y="104"/>
                  </a:lnTo>
                  <a:lnTo>
                    <a:pt x="331" y="104"/>
                  </a:lnTo>
                  <a:lnTo>
                    <a:pt x="330" y="103"/>
                  </a:lnTo>
                  <a:lnTo>
                    <a:pt x="329" y="102"/>
                  </a:lnTo>
                  <a:lnTo>
                    <a:pt x="327" y="99"/>
                  </a:lnTo>
                  <a:lnTo>
                    <a:pt x="326" y="95"/>
                  </a:lnTo>
                  <a:lnTo>
                    <a:pt x="326" y="94"/>
                  </a:lnTo>
                  <a:lnTo>
                    <a:pt x="325" y="93"/>
                  </a:lnTo>
                  <a:lnTo>
                    <a:pt x="324" y="92"/>
                  </a:lnTo>
                  <a:lnTo>
                    <a:pt x="322" y="92"/>
                  </a:lnTo>
                  <a:lnTo>
                    <a:pt x="321" y="93"/>
                  </a:lnTo>
                  <a:lnTo>
                    <a:pt x="319" y="93"/>
                  </a:lnTo>
                  <a:lnTo>
                    <a:pt x="317" y="91"/>
                  </a:lnTo>
                  <a:lnTo>
                    <a:pt x="316" y="90"/>
                  </a:lnTo>
                  <a:lnTo>
                    <a:pt x="314" y="88"/>
                  </a:lnTo>
                  <a:lnTo>
                    <a:pt x="312" y="85"/>
                  </a:lnTo>
                  <a:lnTo>
                    <a:pt x="309" y="80"/>
                  </a:lnTo>
                  <a:lnTo>
                    <a:pt x="307" y="79"/>
                  </a:lnTo>
                  <a:lnTo>
                    <a:pt x="306" y="77"/>
                  </a:lnTo>
                  <a:lnTo>
                    <a:pt x="302" y="76"/>
                  </a:lnTo>
                  <a:lnTo>
                    <a:pt x="298" y="75"/>
                  </a:lnTo>
                  <a:lnTo>
                    <a:pt x="294" y="75"/>
                  </a:lnTo>
                  <a:lnTo>
                    <a:pt x="290" y="73"/>
                  </a:lnTo>
                  <a:lnTo>
                    <a:pt x="290" y="70"/>
                  </a:lnTo>
                  <a:lnTo>
                    <a:pt x="284" y="67"/>
                  </a:lnTo>
                  <a:lnTo>
                    <a:pt x="282" y="65"/>
                  </a:lnTo>
                  <a:lnTo>
                    <a:pt x="279" y="64"/>
                  </a:lnTo>
                  <a:lnTo>
                    <a:pt x="279" y="57"/>
                  </a:lnTo>
                  <a:lnTo>
                    <a:pt x="279" y="50"/>
                  </a:lnTo>
                  <a:lnTo>
                    <a:pt x="283" y="48"/>
                  </a:lnTo>
                  <a:lnTo>
                    <a:pt x="283" y="45"/>
                  </a:lnTo>
                  <a:lnTo>
                    <a:pt x="284" y="41"/>
                  </a:lnTo>
                  <a:lnTo>
                    <a:pt x="283" y="38"/>
                  </a:lnTo>
                  <a:lnTo>
                    <a:pt x="282" y="37"/>
                  </a:lnTo>
                  <a:lnTo>
                    <a:pt x="281" y="37"/>
                  </a:lnTo>
                  <a:lnTo>
                    <a:pt x="283" y="36"/>
                  </a:lnTo>
                  <a:lnTo>
                    <a:pt x="285" y="36"/>
                  </a:lnTo>
                  <a:lnTo>
                    <a:pt x="287" y="37"/>
                  </a:lnTo>
                  <a:lnTo>
                    <a:pt x="290" y="37"/>
                  </a:lnTo>
                  <a:lnTo>
                    <a:pt x="290" y="31"/>
                  </a:lnTo>
                  <a:lnTo>
                    <a:pt x="289" y="30"/>
                  </a:lnTo>
                  <a:lnTo>
                    <a:pt x="288" y="29"/>
                  </a:lnTo>
                  <a:lnTo>
                    <a:pt x="288" y="27"/>
                  </a:lnTo>
                  <a:lnTo>
                    <a:pt x="289" y="27"/>
                  </a:lnTo>
                  <a:lnTo>
                    <a:pt x="291" y="26"/>
                  </a:lnTo>
                  <a:lnTo>
                    <a:pt x="293" y="25"/>
                  </a:lnTo>
                  <a:lnTo>
                    <a:pt x="294" y="23"/>
                  </a:lnTo>
                  <a:lnTo>
                    <a:pt x="294" y="24"/>
                  </a:lnTo>
                  <a:lnTo>
                    <a:pt x="294" y="22"/>
                  </a:lnTo>
                  <a:lnTo>
                    <a:pt x="294" y="20"/>
                  </a:lnTo>
                  <a:lnTo>
                    <a:pt x="292" y="16"/>
                  </a:lnTo>
                  <a:lnTo>
                    <a:pt x="290" y="17"/>
                  </a:lnTo>
                  <a:lnTo>
                    <a:pt x="283" y="20"/>
                  </a:lnTo>
                  <a:lnTo>
                    <a:pt x="281" y="16"/>
                  </a:lnTo>
                  <a:lnTo>
                    <a:pt x="276" y="16"/>
                  </a:lnTo>
                  <a:lnTo>
                    <a:pt x="271" y="16"/>
                  </a:lnTo>
                  <a:lnTo>
                    <a:pt x="260" y="14"/>
                  </a:lnTo>
                  <a:lnTo>
                    <a:pt x="261" y="14"/>
                  </a:lnTo>
                  <a:lnTo>
                    <a:pt x="258" y="13"/>
                  </a:lnTo>
                  <a:lnTo>
                    <a:pt x="257" y="13"/>
                  </a:lnTo>
                  <a:lnTo>
                    <a:pt x="258" y="14"/>
                  </a:lnTo>
                  <a:lnTo>
                    <a:pt x="255" y="12"/>
                  </a:lnTo>
                  <a:lnTo>
                    <a:pt x="254" y="11"/>
                  </a:lnTo>
                  <a:lnTo>
                    <a:pt x="254" y="10"/>
                  </a:lnTo>
                  <a:lnTo>
                    <a:pt x="252" y="8"/>
                  </a:lnTo>
                  <a:lnTo>
                    <a:pt x="249" y="10"/>
                  </a:lnTo>
                  <a:lnTo>
                    <a:pt x="248" y="11"/>
                  </a:lnTo>
                  <a:lnTo>
                    <a:pt x="248" y="12"/>
                  </a:lnTo>
                  <a:lnTo>
                    <a:pt x="245" y="11"/>
                  </a:lnTo>
                  <a:lnTo>
                    <a:pt x="244" y="10"/>
                  </a:lnTo>
                  <a:lnTo>
                    <a:pt x="243" y="9"/>
                  </a:lnTo>
                  <a:lnTo>
                    <a:pt x="241" y="7"/>
                  </a:lnTo>
                  <a:lnTo>
                    <a:pt x="239" y="5"/>
                  </a:lnTo>
                  <a:lnTo>
                    <a:pt x="238" y="5"/>
                  </a:lnTo>
                  <a:lnTo>
                    <a:pt x="237" y="4"/>
                  </a:lnTo>
                  <a:lnTo>
                    <a:pt x="234" y="4"/>
                  </a:lnTo>
                  <a:lnTo>
                    <a:pt x="232" y="4"/>
                  </a:lnTo>
                  <a:lnTo>
                    <a:pt x="231" y="4"/>
                  </a:lnTo>
                  <a:lnTo>
                    <a:pt x="232" y="5"/>
                  </a:lnTo>
                  <a:lnTo>
                    <a:pt x="232" y="6"/>
                  </a:lnTo>
                  <a:lnTo>
                    <a:pt x="235" y="9"/>
                  </a:lnTo>
                  <a:lnTo>
                    <a:pt x="242" y="13"/>
                  </a:lnTo>
                  <a:lnTo>
                    <a:pt x="246" y="16"/>
                  </a:lnTo>
                  <a:lnTo>
                    <a:pt x="246" y="19"/>
                  </a:lnTo>
                  <a:lnTo>
                    <a:pt x="245" y="20"/>
                  </a:lnTo>
                  <a:lnTo>
                    <a:pt x="244" y="20"/>
                  </a:lnTo>
                  <a:lnTo>
                    <a:pt x="242" y="20"/>
                  </a:lnTo>
                  <a:lnTo>
                    <a:pt x="242" y="23"/>
                  </a:lnTo>
                  <a:lnTo>
                    <a:pt x="241" y="23"/>
                  </a:lnTo>
                  <a:lnTo>
                    <a:pt x="238" y="23"/>
                  </a:lnTo>
                  <a:lnTo>
                    <a:pt x="233" y="21"/>
                  </a:lnTo>
                  <a:lnTo>
                    <a:pt x="228" y="19"/>
                  </a:lnTo>
                  <a:lnTo>
                    <a:pt x="226" y="18"/>
                  </a:lnTo>
                  <a:lnTo>
                    <a:pt x="223" y="18"/>
                  </a:lnTo>
                  <a:lnTo>
                    <a:pt x="223" y="19"/>
                  </a:lnTo>
                  <a:lnTo>
                    <a:pt x="222" y="21"/>
                  </a:lnTo>
                  <a:lnTo>
                    <a:pt x="221" y="23"/>
                  </a:lnTo>
                  <a:lnTo>
                    <a:pt x="220" y="23"/>
                  </a:lnTo>
                  <a:lnTo>
                    <a:pt x="218" y="22"/>
                  </a:lnTo>
                  <a:lnTo>
                    <a:pt x="216" y="20"/>
                  </a:lnTo>
                  <a:lnTo>
                    <a:pt x="213" y="24"/>
                  </a:lnTo>
                  <a:lnTo>
                    <a:pt x="212" y="30"/>
                  </a:lnTo>
                  <a:lnTo>
                    <a:pt x="212" y="32"/>
                  </a:lnTo>
                  <a:lnTo>
                    <a:pt x="212" y="34"/>
                  </a:lnTo>
                  <a:lnTo>
                    <a:pt x="213" y="36"/>
                  </a:lnTo>
                  <a:lnTo>
                    <a:pt x="216" y="37"/>
                  </a:lnTo>
                  <a:lnTo>
                    <a:pt x="213" y="37"/>
                  </a:lnTo>
                  <a:lnTo>
                    <a:pt x="211" y="37"/>
                  </a:lnTo>
                  <a:lnTo>
                    <a:pt x="209" y="37"/>
                  </a:lnTo>
                  <a:lnTo>
                    <a:pt x="207" y="37"/>
                  </a:lnTo>
                  <a:lnTo>
                    <a:pt x="207" y="38"/>
                  </a:lnTo>
                  <a:lnTo>
                    <a:pt x="207" y="41"/>
                  </a:lnTo>
                  <a:lnTo>
                    <a:pt x="207" y="46"/>
                  </a:lnTo>
                  <a:lnTo>
                    <a:pt x="202" y="48"/>
                  </a:lnTo>
                  <a:lnTo>
                    <a:pt x="201" y="49"/>
                  </a:lnTo>
                  <a:lnTo>
                    <a:pt x="199" y="50"/>
                  </a:lnTo>
                  <a:lnTo>
                    <a:pt x="201" y="53"/>
                  </a:lnTo>
                  <a:lnTo>
                    <a:pt x="202" y="55"/>
                  </a:lnTo>
                  <a:lnTo>
                    <a:pt x="204" y="58"/>
                  </a:lnTo>
                  <a:lnTo>
                    <a:pt x="204" y="59"/>
                  </a:lnTo>
                  <a:lnTo>
                    <a:pt x="204" y="60"/>
                  </a:lnTo>
                  <a:lnTo>
                    <a:pt x="197" y="62"/>
                  </a:lnTo>
                  <a:lnTo>
                    <a:pt x="198" y="61"/>
                  </a:lnTo>
                  <a:lnTo>
                    <a:pt x="196" y="61"/>
                  </a:lnTo>
                  <a:lnTo>
                    <a:pt x="193" y="60"/>
                  </a:lnTo>
                  <a:lnTo>
                    <a:pt x="194" y="59"/>
                  </a:lnTo>
                  <a:lnTo>
                    <a:pt x="192" y="58"/>
                  </a:lnTo>
                  <a:lnTo>
                    <a:pt x="188" y="58"/>
                  </a:lnTo>
                  <a:lnTo>
                    <a:pt x="187" y="62"/>
                  </a:lnTo>
                  <a:lnTo>
                    <a:pt x="188" y="66"/>
                  </a:lnTo>
                  <a:lnTo>
                    <a:pt x="182" y="68"/>
                  </a:lnTo>
                  <a:lnTo>
                    <a:pt x="183" y="61"/>
                  </a:lnTo>
                  <a:lnTo>
                    <a:pt x="184" y="59"/>
                  </a:lnTo>
                  <a:lnTo>
                    <a:pt x="184" y="57"/>
                  </a:lnTo>
                  <a:lnTo>
                    <a:pt x="184" y="55"/>
                  </a:lnTo>
                  <a:lnTo>
                    <a:pt x="183" y="53"/>
                  </a:lnTo>
                  <a:lnTo>
                    <a:pt x="181" y="51"/>
                  </a:lnTo>
                  <a:lnTo>
                    <a:pt x="178" y="48"/>
                  </a:lnTo>
                  <a:lnTo>
                    <a:pt x="176" y="43"/>
                  </a:lnTo>
                  <a:lnTo>
                    <a:pt x="171" y="44"/>
                  </a:lnTo>
                  <a:lnTo>
                    <a:pt x="167" y="44"/>
                  </a:lnTo>
                  <a:lnTo>
                    <a:pt x="165" y="45"/>
                  </a:lnTo>
                  <a:lnTo>
                    <a:pt x="164" y="45"/>
                  </a:lnTo>
                  <a:lnTo>
                    <a:pt x="163" y="46"/>
                  </a:lnTo>
                  <a:lnTo>
                    <a:pt x="162" y="47"/>
                  </a:lnTo>
                  <a:lnTo>
                    <a:pt x="161" y="54"/>
                  </a:lnTo>
                  <a:lnTo>
                    <a:pt x="159" y="53"/>
                  </a:lnTo>
                  <a:lnTo>
                    <a:pt x="159" y="52"/>
                  </a:lnTo>
                  <a:lnTo>
                    <a:pt x="159" y="50"/>
                  </a:lnTo>
                  <a:lnTo>
                    <a:pt x="155" y="50"/>
                  </a:lnTo>
                  <a:lnTo>
                    <a:pt x="157" y="54"/>
                  </a:lnTo>
                  <a:lnTo>
                    <a:pt x="153" y="54"/>
                  </a:lnTo>
                  <a:lnTo>
                    <a:pt x="154" y="58"/>
                  </a:lnTo>
                  <a:lnTo>
                    <a:pt x="155" y="61"/>
                  </a:lnTo>
                  <a:lnTo>
                    <a:pt x="155" y="62"/>
                  </a:lnTo>
                  <a:lnTo>
                    <a:pt x="154" y="62"/>
                  </a:lnTo>
                  <a:lnTo>
                    <a:pt x="152" y="62"/>
                  </a:lnTo>
                  <a:lnTo>
                    <a:pt x="150" y="62"/>
                  </a:lnTo>
                  <a:lnTo>
                    <a:pt x="149" y="62"/>
                  </a:lnTo>
                  <a:lnTo>
                    <a:pt x="151" y="64"/>
                  </a:lnTo>
                  <a:lnTo>
                    <a:pt x="152" y="66"/>
                  </a:lnTo>
                  <a:lnTo>
                    <a:pt x="152" y="67"/>
                  </a:lnTo>
                  <a:lnTo>
                    <a:pt x="151" y="68"/>
                  </a:lnTo>
                  <a:lnTo>
                    <a:pt x="150" y="67"/>
                  </a:lnTo>
                  <a:lnTo>
                    <a:pt x="148" y="66"/>
                  </a:lnTo>
                  <a:lnTo>
                    <a:pt x="145" y="64"/>
                  </a:lnTo>
                  <a:lnTo>
                    <a:pt x="145" y="65"/>
                  </a:lnTo>
                  <a:lnTo>
                    <a:pt x="143" y="66"/>
                  </a:lnTo>
                  <a:lnTo>
                    <a:pt x="142" y="67"/>
                  </a:lnTo>
                  <a:lnTo>
                    <a:pt x="142" y="68"/>
                  </a:lnTo>
                  <a:lnTo>
                    <a:pt x="141" y="73"/>
                  </a:lnTo>
                  <a:lnTo>
                    <a:pt x="142" y="75"/>
                  </a:lnTo>
                  <a:lnTo>
                    <a:pt x="142" y="79"/>
                  </a:lnTo>
                  <a:lnTo>
                    <a:pt x="139" y="78"/>
                  </a:lnTo>
                  <a:lnTo>
                    <a:pt x="134" y="74"/>
                  </a:lnTo>
                  <a:lnTo>
                    <a:pt x="132" y="75"/>
                  </a:lnTo>
                  <a:lnTo>
                    <a:pt x="131" y="76"/>
                  </a:lnTo>
                  <a:lnTo>
                    <a:pt x="130" y="77"/>
                  </a:lnTo>
                  <a:lnTo>
                    <a:pt x="130" y="89"/>
                  </a:lnTo>
                  <a:lnTo>
                    <a:pt x="132" y="88"/>
                  </a:lnTo>
                  <a:lnTo>
                    <a:pt x="133" y="89"/>
                  </a:lnTo>
                  <a:lnTo>
                    <a:pt x="133" y="90"/>
                  </a:lnTo>
                  <a:lnTo>
                    <a:pt x="132" y="91"/>
                  </a:lnTo>
                  <a:lnTo>
                    <a:pt x="130" y="96"/>
                  </a:lnTo>
                  <a:lnTo>
                    <a:pt x="127" y="94"/>
                  </a:lnTo>
                  <a:lnTo>
                    <a:pt x="124" y="91"/>
                  </a:lnTo>
                  <a:lnTo>
                    <a:pt x="123" y="86"/>
                  </a:lnTo>
                  <a:lnTo>
                    <a:pt x="122" y="84"/>
                  </a:lnTo>
                  <a:lnTo>
                    <a:pt x="122" y="83"/>
                  </a:lnTo>
                  <a:lnTo>
                    <a:pt x="121" y="85"/>
                  </a:lnTo>
                  <a:lnTo>
                    <a:pt x="119" y="87"/>
                  </a:lnTo>
                  <a:lnTo>
                    <a:pt x="115" y="89"/>
                  </a:lnTo>
                  <a:lnTo>
                    <a:pt x="114" y="92"/>
                  </a:lnTo>
                  <a:lnTo>
                    <a:pt x="114" y="95"/>
                  </a:lnTo>
                  <a:lnTo>
                    <a:pt x="113" y="102"/>
                  </a:lnTo>
                  <a:lnTo>
                    <a:pt x="112" y="105"/>
                  </a:lnTo>
                  <a:lnTo>
                    <a:pt x="113" y="107"/>
                  </a:lnTo>
                  <a:lnTo>
                    <a:pt x="113" y="109"/>
                  </a:lnTo>
                  <a:lnTo>
                    <a:pt x="114" y="110"/>
                  </a:lnTo>
                  <a:lnTo>
                    <a:pt x="115" y="110"/>
                  </a:lnTo>
                  <a:lnTo>
                    <a:pt x="109" y="114"/>
                  </a:lnTo>
                  <a:lnTo>
                    <a:pt x="106" y="117"/>
                  </a:lnTo>
                  <a:lnTo>
                    <a:pt x="104" y="118"/>
                  </a:lnTo>
                  <a:lnTo>
                    <a:pt x="103" y="119"/>
                  </a:lnTo>
                  <a:lnTo>
                    <a:pt x="103" y="121"/>
                  </a:lnTo>
                  <a:lnTo>
                    <a:pt x="102" y="123"/>
                  </a:lnTo>
                  <a:lnTo>
                    <a:pt x="102" y="126"/>
                  </a:lnTo>
                  <a:lnTo>
                    <a:pt x="102" y="127"/>
                  </a:lnTo>
                  <a:lnTo>
                    <a:pt x="101" y="127"/>
                  </a:lnTo>
                  <a:lnTo>
                    <a:pt x="99" y="129"/>
                  </a:lnTo>
                  <a:lnTo>
                    <a:pt x="97" y="130"/>
                  </a:lnTo>
                  <a:lnTo>
                    <a:pt x="92" y="131"/>
                  </a:lnTo>
                  <a:lnTo>
                    <a:pt x="86" y="131"/>
                  </a:lnTo>
                  <a:lnTo>
                    <a:pt x="80" y="133"/>
                  </a:lnTo>
                  <a:lnTo>
                    <a:pt x="78" y="137"/>
                  </a:lnTo>
                  <a:lnTo>
                    <a:pt x="76" y="137"/>
                  </a:lnTo>
                  <a:lnTo>
                    <a:pt x="75" y="136"/>
                  </a:lnTo>
                  <a:lnTo>
                    <a:pt x="74" y="135"/>
                  </a:lnTo>
                  <a:lnTo>
                    <a:pt x="72" y="135"/>
                  </a:lnTo>
                  <a:lnTo>
                    <a:pt x="72" y="136"/>
                  </a:lnTo>
                  <a:lnTo>
                    <a:pt x="71" y="137"/>
                  </a:lnTo>
                  <a:lnTo>
                    <a:pt x="70" y="140"/>
                  </a:lnTo>
                  <a:lnTo>
                    <a:pt x="68" y="143"/>
                  </a:lnTo>
                  <a:lnTo>
                    <a:pt x="67" y="144"/>
                  </a:lnTo>
                  <a:lnTo>
                    <a:pt x="65" y="145"/>
                  </a:lnTo>
                  <a:lnTo>
                    <a:pt x="63" y="144"/>
                  </a:lnTo>
                  <a:lnTo>
                    <a:pt x="61" y="144"/>
                  </a:lnTo>
                  <a:lnTo>
                    <a:pt x="59" y="144"/>
                  </a:lnTo>
                  <a:lnTo>
                    <a:pt x="57" y="148"/>
                  </a:lnTo>
                  <a:lnTo>
                    <a:pt x="54" y="148"/>
                  </a:lnTo>
                  <a:lnTo>
                    <a:pt x="50" y="147"/>
                  </a:lnTo>
                  <a:lnTo>
                    <a:pt x="47" y="147"/>
                  </a:lnTo>
                  <a:lnTo>
                    <a:pt x="46" y="146"/>
                  </a:lnTo>
                  <a:lnTo>
                    <a:pt x="45" y="147"/>
                  </a:lnTo>
                  <a:lnTo>
                    <a:pt x="44" y="149"/>
                  </a:lnTo>
                  <a:lnTo>
                    <a:pt x="44" y="151"/>
                  </a:lnTo>
                  <a:lnTo>
                    <a:pt x="44" y="152"/>
                  </a:lnTo>
                  <a:lnTo>
                    <a:pt x="42" y="152"/>
                  </a:lnTo>
                  <a:lnTo>
                    <a:pt x="40" y="152"/>
                  </a:lnTo>
                  <a:lnTo>
                    <a:pt x="38" y="152"/>
                  </a:lnTo>
                  <a:lnTo>
                    <a:pt x="36" y="152"/>
                  </a:lnTo>
                  <a:lnTo>
                    <a:pt x="36" y="154"/>
                  </a:lnTo>
                  <a:lnTo>
                    <a:pt x="34" y="155"/>
                  </a:lnTo>
                  <a:lnTo>
                    <a:pt x="31" y="157"/>
                  </a:lnTo>
                  <a:lnTo>
                    <a:pt x="27" y="161"/>
                  </a:lnTo>
                  <a:lnTo>
                    <a:pt x="23" y="167"/>
                  </a:lnTo>
                  <a:lnTo>
                    <a:pt x="21" y="169"/>
                  </a:lnTo>
                  <a:lnTo>
                    <a:pt x="19" y="170"/>
                  </a:lnTo>
                  <a:lnTo>
                    <a:pt x="13" y="174"/>
                  </a:lnTo>
                  <a:lnTo>
                    <a:pt x="14" y="175"/>
                  </a:lnTo>
                  <a:lnTo>
                    <a:pt x="12" y="175"/>
                  </a:lnTo>
                  <a:lnTo>
                    <a:pt x="9" y="176"/>
                  </a:lnTo>
                  <a:lnTo>
                    <a:pt x="11" y="170"/>
                  </a:lnTo>
                  <a:lnTo>
                    <a:pt x="9" y="172"/>
                  </a:lnTo>
                  <a:lnTo>
                    <a:pt x="8" y="172"/>
                  </a:lnTo>
                  <a:lnTo>
                    <a:pt x="7" y="172"/>
                  </a:lnTo>
                  <a:lnTo>
                    <a:pt x="8" y="173"/>
                  </a:lnTo>
                  <a:lnTo>
                    <a:pt x="7" y="175"/>
                  </a:lnTo>
                  <a:lnTo>
                    <a:pt x="5" y="178"/>
                  </a:lnTo>
                  <a:lnTo>
                    <a:pt x="6" y="182"/>
                  </a:lnTo>
                  <a:lnTo>
                    <a:pt x="7" y="187"/>
                  </a:lnTo>
                  <a:lnTo>
                    <a:pt x="8" y="192"/>
                  </a:lnTo>
                  <a:lnTo>
                    <a:pt x="8" y="195"/>
                  </a:lnTo>
                  <a:lnTo>
                    <a:pt x="7" y="197"/>
                  </a:lnTo>
                  <a:lnTo>
                    <a:pt x="6" y="199"/>
                  </a:lnTo>
                  <a:lnTo>
                    <a:pt x="4" y="200"/>
                  </a:lnTo>
                  <a:lnTo>
                    <a:pt x="1" y="202"/>
                  </a:lnTo>
                  <a:lnTo>
                    <a:pt x="0" y="203"/>
                  </a:lnTo>
                  <a:lnTo>
                    <a:pt x="1" y="207"/>
                  </a:lnTo>
                  <a:lnTo>
                    <a:pt x="2" y="209"/>
                  </a:lnTo>
                  <a:lnTo>
                    <a:pt x="3" y="209"/>
                  </a:lnTo>
                  <a:lnTo>
                    <a:pt x="3" y="211"/>
                  </a:lnTo>
                  <a:lnTo>
                    <a:pt x="5" y="212"/>
                  </a:lnTo>
                  <a:lnTo>
                    <a:pt x="6" y="214"/>
                  </a:lnTo>
                  <a:lnTo>
                    <a:pt x="9" y="218"/>
                  </a:lnTo>
                  <a:lnTo>
                    <a:pt x="10" y="223"/>
                  </a:lnTo>
                  <a:lnTo>
                    <a:pt x="11" y="228"/>
                  </a:lnTo>
                  <a:lnTo>
                    <a:pt x="11" y="238"/>
                  </a:lnTo>
                  <a:lnTo>
                    <a:pt x="10" y="237"/>
                  </a:lnTo>
                  <a:lnTo>
                    <a:pt x="9" y="236"/>
                  </a:lnTo>
                  <a:lnTo>
                    <a:pt x="5" y="236"/>
                  </a:lnTo>
                  <a:lnTo>
                    <a:pt x="5" y="230"/>
                  </a:lnTo>
                  <a:lnTo>
                    <a:pt x="4" y="230"/>
                  </a:lnTo>
                  <a:lnTo>
                    <a:pt x="3" y="232"/>
                  </a:lnTo>
                  <a:lnTo>
                    <a:pt x="3" y="236"/>
                  </a:lnTo>
                  <a:lnTo>
                    <a:pt x="9" y="241"/>
                  </a:lnTo>
                  <a:lnTo>
                    <a:pt x="11" y="242"/>
                  </a:lnTo>
                  <a:lnTo>
                    <a:pt x="12" y="244"/>
                  </a:lnTo>
                  <a:lnTo>
                    <a:pt x="12" y="245"/>
                  </a:lnTo>
                  <a:lnTo>
                    <a:pt x="10" y="245"/>
                  </a:lnTo>
                  <a:lnTo>
                    <a:pt x="5" y="243"/>
                  </a:lnTo>
                  <a:lnTo>
                    <a:pt x="1" y="241"/>
                  </a:lnTo>
                  <a:lnTo>
                    <a:pt x="1" y="245"/>
                  </a:lnTo>
                  <a:lnTo>
                    <a:pt x="3" y="247"/>
                  </a:lnTo>
                  <a:lnTo>
                    <a:pt x="4" y="248"/>
                  </a:lnTo>
                  <a:lnTo>
                    <a:pt x="8" y="251"/>
                  </a:lnTo>
                  <a:lnTo>
                    <a:pt x="11" y="254"/>
                  </a:lnTo>
                  <a:lnTo>
                    <a:pt x="12" y="255"/>
                  </a:lnTo>
                  <a:lnTo>
                    <a:pt x="13" y="257"/>
                  </a:lnTo>
                  <a:lnTo>
                    <a:pt x="13" y="260"/>
                  </a:lnTo>
                  <a:lnTo>
                    <a:pt x="13" y="263"/>
                  </a:lnTo>
                  <a:lnTo>
                    <a:pt x="13" y="266"/>
                  </a:lnTo>
                  <a:lnTo>
                    <a:pt x="13" y="267"/>
                  </a:lnTo>
                  <a:lnTo>
                    <a:pt x="13" y="268"/>
                  </a:lnTo>
                  <a:lnTo>
                    <a:pt x="14" y="270"/>
                  </a:lnTo>
                  <a:lnTo>
                    <a:pt x="17" y="271"/>
                  </a:lnTo>
                  <a:lnTo>
                    <a:pt x="19" y="273"/>
                  </a:lnTo>
                  <a:lnTo>
                    <a:pt x="21" y="2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29"/>
            <p:cNvSpPr>
              <a:spLocks/>
            </p:cNvSpPr>
            <p:nvPr/>
          </p:nvSpPr>
          <p:spPr bwMode="auto">
            <a:xfrm>
              <a:off x="4375" y="2420"/>
              <a:ext cx="236" cy="158"/>
            </a:xfrm>
            <a:custGeom>
              <a:avLst/>
              <a:gdLst>
                <a:gd name="T0" fmla="*/ 115 w 236"/>
                <a:gd name="T1" fmla="*/ 31 h 158"/>
                <a:gd name="T2" fmla="*/ 102 w 236"/>
                <a:gd name="T3" fmla="*/ 31 h 158"/>
                <a:gd name="T4" fmla="*/ 88 w 236"/>
                <a:gd name="T5" fmla="*/ 22 h 158"/>
                <a:gd name="T6" fmla="*/ 76 w 236"/>
                <a:gd name="T7" fmla="*/ 20 h 158"/>
                <a:gd name="T8" fmla="*/ 73 w 236"/>
                <a:gd name="T9" fmla="*/ 27 h 158"/>
                <a:gd name="T10" fmla="*/ 64 w 236"/>
                <a:gd name="T11" fmla="*/ 31 h 158"/>
                <a:gd name="T12" fmla="*/ 61 w 236"/>
                <a:gd name="T13" fmla="*/ 39 h 158"/>
                <a:gd name="T14" fmla="*/ 54 w 236"/>
                <a:gd name="T15" fmla="*/ 42 h 158"/>
                <a:gd name="T16" fmla="*/ 44 w 236"/>
                <a:gd name="T17" fmla="*/ 31 h 158"/>
                <a:gd name="T18" fmla="*/ 38 w 236"/>
                <a:gd name="T19" fmla="*/ 27 h 158"/>
                <a:gd name="T20" fmla="*/ 33 w 236"/>
                <a:gd name="T21" fmla="*/ 3 h 158"/>
                <a:gd name="T22" fmla="*/ 23 w 236"/>
                <a:gd name="T23" fmla="*/ 3 h 158"/>
                <a:gd name="T24" fmla="*/ 14 w 236"/>
                <a:gd name="T25" fmla="*/ 0 h 158"/>
                <a:gd name="T26" fmla="*/ 8 w 236"/>
                <a:gd name="T27" fmla="*/ 6 h 158"/>
                <a:gd name="T28" fmla="*/ 0 w 236"/>
                <a:gd name="T29" fmla="*/ 14 h 158"/>
                <a:gd name="T30" fmla="*/ 10 w 236"/>
                <a:gd name="T31" fmla="*/ 18 h 158"/>
                <a:gd name="T32" fmla="*/ 12 w 236"/>
                <a:gd name="T33" fmla="*/ 25 h 158"/>
                <a:gd name="T34" fmla="*/ 33 w 236"/>
                <a:gd name="T35" fmla="*/ 27 h 158"/>
                <a:gd name="T36" fmla="*/ 21 w 236"/>
                <a:gd name="T37" fmla="*/ 32 h 158"/>
                <a:gd name="T38" fmla="*/ 25 w 236"/>
                <a:gd name="T39" fmla="*/ 35 h 158"/>
                <a:gd name="T40" fmla="*/ 12 w 236"/>
                <a:gd name="T41" fmla="*/ 36 h 158"/>
                <a:gd name="T42" fmla="*/ 25 w 236"/>
                <a:gd name="T43" fmla="*/ 50 h 158"/>
                <a:gd name="T44" fmla="*/ 28 w 236"/>
                <a:gd name="T45" fmla="*/ 44 h 158"/>
                <a:gd name="T46" fmla="*/ 34 w 236"/>
                <a:gd name="T47" fmla="*/ 46 h 158"/>
                <a:gd name="T48" fmla="*/ 40 w 236"/>
                <a:gd name="T49" fmla="*/ 49 h 158"/>
                <a:gd name="T50" fmla="*/ 43 w 236"/>
                <a:gd name="T51" fmla="*/ 56 h 158"/>
                <a:gd name="T52" fmla="*/ 51 w 236"/>
                <a:gd name="T53" fmla="*/ 60 h 158"/>
                <a:gd name="T54" fmla="*/ 69 w 236"/>
                <a:gd name="T55" fmla="*/ 64 h 158"/>
                <a:gd name="T56" fmla="*/ 71 w 236"/>
                <a:gd name="T57" fmla="*/ 71 h 158"/>
                <a:gd name="T58" fmla="*/ 75 w 236"/>
                <a:gd name="T59" fmla="*/ 69 h 158"/>
                <a:gd name="T60" fmla="*/ 93 w 236"/>
                <a:gd name="T61" fmla="*/ 104 h 158"/>
                <a:gd name="T62" fmla="*/ 88 w 236"/>
                <a:gd name="T63" fmla="*/ 113 h 158"/>
                <a:gd name="T64" fmla="*/ 79 w 236"/>
                <a:gd name="T65" fmla="*/ 123 h 158"/>
                <a:gd name="T66" fmla="*/ 92 w 236"/>
                <a:gd name="T67" fmla="*/ 117 h 158"/>
                <a:gd name="T68" fmla="*/ 108 w 236"/>
                <a:gd name="T69" fmla="*/ 119 h 158"/>
                <a:gd name="T70" fmla="*/ 122 w 236"/>
                <a:gd name="T71" fmla="*/ 134 h 158"/>
                <a:gd name="T72" fmla="*/ 147 w 236"/>
                <a:gd name="T73" fmla="*/ 131 h 158"/>
                <a:gd name="T74" fmla="*/ 152 w 236"/>
                <a:gd name="T75" fmla="*/ 123 h 158"/>
                <a:gd name="T76" fmla="*/ 160 w 236"/>
                <a:gd name="T77" fmla="*/ 116 h 158"/>
                <a:gd name="T78" fmla="*/ 180 w 236"/>
                <a:gd name="T79" fmla="*/ 120 h 158"/>
                <a:gd name="T80" fmla="*/ 187 w 236"/>
                <a:gd name="T81" fmla="*/ 128 h 158"/>
                <a:gd name="T82" fmla="*/ 190 w 236"/>
                <a:gd name="T83" fmla="*/ 137 h 158"/>
                <a:gd name="T84" fmla="*/ 198 w 236"/>
                <a:gd name="T85" fmla="*/ 139 h 158"/>
                <a:gd name="T86" fmla="*/ 219 w 236"/>
                <a:gd name="T87" fmla="*/ 154 h 158"/>
                <a:gd name="T88" fmla="*/ 236 w 236"/>
                <a:gd name="T89" fmla="*/ 152 h 158"/>
                <a:gd name="T90" fmla="*/ 230 w 236"/>
                <a:gd name="T91" fmla="*/ 146 h 158"/>
                <a:gd name="T92" fmla="*/ 226 w 236"/>
                <a:gd name="T93" fmla="*/ 143 h 158"/>
                <a:gd name="T94" fmla="*/ 220 w 236"/>
                <a:gd name="T95" fmla="*/ 140 h 158"/>
                <a:gd name="T96" fmla="*/ 217 w 236"/>
                <a:gd name="T97" fmla="*/ 134 h 158"/>
                <a:gd name="T98" fmla="*/ 212 w 236"/>
                <a:gd name="T99" fmla="*/ 130 h 158"/>
                <a:gd name="T100" fmla="*/ 209 w 236"/>
                <a:gd name="T101" fmla="*/ 119 h 158"/>
                <a:gd name="T102" fmla="*/ 202 w 236"/>
                <a:gd name="T103" fmla="*/ 117 h 158"/>
                <a:gd name="T104" fmla="*/ 198 w 236"/>
                <a:gd name="T105" fmla="*/ 109 h 158"/>
                <a:gd name="T106" fmla="*/ 204 w 236"/>
                <a:gd name="T107" fmla="*/ 85 h 158"/>
                <a:gd name="T108" fmla="*/ 196 w 236"/>
                <a:gd name="T109" fmla="*/ 85 h 158"/>
                <a:gd name="T110" fmla="*/ 192 w 236"/>
                <a:gd name="T111" fmla="*/ 81 h 158"/>
                <a:gd name="T112" fmla="*/ 184 w 236"/>
                <a:gd name="T113" fmla="*/ 76 h 158"/>
                <a:gd name="T114" fmla="*/ 178 w 236"/>
                <a:gd name="T115" fmla="*/ 71 h 158"/>
                <a:gd name="T116" fmla="*/ 171 w 236"/>
                <a:gd name="T117" fmla="*/ 58 h 158"/>
                <a:gd name="T118" fmla="*/ 165 w 236"/>
                <a:gd name="T119" fmla="*/ 58 h 158"/>
                <a:gd name="T120" fmla="*/ 160 w 236"/>
                <a:gd name="T121" fmla="*/ 50 h 158"/>
                <a:gd name="T122" fmla="*/ 136 w 236"/>
                <a:gd name="T123" fmla="*/ 43 h 158"/>
                <a:gd name="T124" fmla="*/ 117 w 236"/>
                <a:gd name="T125" fmla="*/ 34 h 15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36"/>
                <a:gd name="T190" fmla="*/ 0 h 158"/>
                <a:gd name="T191" fmla="*/ 236 w 236"/>
                <a:gd name="T192" fmla="*/ 158 h 15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36" h="158">
                  <a:moveTo>
                    <a:pt x="117" y="34"/>
                  </a:moveTo>
                  <a:lnTo>
                    <a:pt x="116" y="33"/>
                  </a:lnTo>
                  <a:lnTo>
                    <a:pt x="116" y="32"/>
                  </a:lnTo>
                  <a:lnTo>
                    <a:pt x="115" y="31"/>
                  </a:lnTo>
                  <a:lnTo>
                    <a:pt x="112" y="31"/>
                  </a:lnTo>
                  <a:lnTo>
                    <a:pt x="109" y="31"/>
                  </a:lnTo>
                  <a:lnTo>
                    <a:pt x="105" y="31"/>
                  </a:lnTo>
                  <a:lnTo>
                    <a:pt x="102" y="31"/>
                  </a:lnTo>
                  <a:lnTo>
                    <a:pt x="99" y="30"/>
                  </a:lnTo>
                  <a:lnTo>
                    <a:pt x="96" y="28"/>
                  </a:lnTo>
                  <a:lnTo>
                    <a:pt x="91" y="24"/>
                  </a:lnTo>
                  <a:lnTo>
                    <a:pt x="88" y="22"/>
                  </a:lnTo>
                  <a:lnTo>
                    <a:pt x="84" y="20"/>
                  </a:lnTo>
                  <a:lnTo>
                    <a:pt x="81" y="19"/>
                  </a:lnTo>
                  <a:lnTo>
                    <a:pt x="77" y="19"/>
                  </a:lnTo>
                  <a:lnTo>
                    <a:pt x="76" y="20"/>
                  </a:lnTo>
                  <a:lnTo>
                    <a:pt x="76" y="21"/>
                  </a:lnTo>
                  <a:lnTo>
                    <a:pt x="75" y="23"/>
                  </a:lnTo>
                  <a:lnTo>
                    <a:pt x="74" y="26"/>
                  </a:lnTo>
                  <a:lnTo>
                    <a:pt x="73" y="27"/>
                  </a:lnTo>
                  <a:lnTo>
                    <a:pt x="71" y="29"/>
                  </a:lnTo>
                  <a:lnTo>
                    <a:pt x="68" y="29"/>
                  </a:lnTo>
                  <a:lnTo>
                    <a:pt x="66" y="30"/>
                  </a:lnTo>
                  <a:lnTo>
                    <a:pt x="64" y="31"/>
                  </a:lnTo>
                  <a:lnTo>
                    <a:pt x="63" y="32"/>
                  </a:lnTo>
                  <a:lnTo>
                    <a:pt x="62" y="33"/>
                  </a:lnTo>
                  <a:lnTo>
                    <a:pt x="62" y="36"/>
                  </a:lnTo>
                  <a:lnTo>
                    <a:pt x="61" y="39"/>
                  </a:lnTo>
                  <a:lnTo>
                    <a:pt x="60" y="41"/>
                  </a:lnTo>
                  <a:lnTo>
                    <a:pt x="58" y="41"/>
                  </a:lnTo>
                  <a:lnTo>
                    <a:pt x="57" y="42"/>
                  </a:lnTo>
                  <a:lnTo>
                    <a:pt x="54" y="42"/>
                  </a:lnTo>
                  <a:lnTo>
                    <a:pt x="51" y="42"/>
                  </a:lnTo>
                  <a:lnTo>
                    <a:pt x="48" y="43"/>
                  </a:lnTo>
                  <a:lnTo>
                    <a:pt x="46" y="37"/>
                  </a:lnTo>
                  <a:lnTo>
                    <a:pt x="44" y="31"/>
                  </a:lnTo>
                  <a:lnTo>
                    <a:pt x="42" y="33"/>
                  </a:lnTo>
                  <a:lnTo>
                    <a:pt x="40" y="33"/>
                  </a:lnTo>
                  <a:lnTo>
                    <a:pt x="39" y="33"/>
                  </a:lnTo>
                  <a:lnTo>
                    <a:pt x="38" y="27"/>
                  </a:lnTo>
                  <a:lnTo>
                    <a:pt x="38" y="20"/>
                  </a:lnTo>
                  <a:lnTo>
                    <a:pt x="39" y="6"/>
                  </a:lnTo>
                  <a:lnTo>
                    <a:pt x="34" y="4"/>
                  </a:lnTo>
                  <a:lnTo>
                    <a:pt x="33" y="3"/>
                  </a:lnTo>
                  <a:lnTo>
                    <a:pt x="31" y="2"/>
                  </a:lnTo>
                  <a:lnTo>
                    <a:pt x="28" y="3"/>
                  </a:lnTo>
                  <a:lnTo>
                    <a:pt x="25" y="4"/>
                  </a:lnTo>
                  <a:lnTo>
                    <a:pt x="23" y="3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12" y="1"/>
                  </a:lnTo>
                  <a:lnTo>
                    <a:pt x="11" y="3"/>
                  </a:lnTo>
                  <a:lnTo>
                    <a:pt x="10" y="6"/>
                  </a:lnTo>
                  <a:lnTo>
                    <a:pt x="8" y="6"/>
                  </a:lnTo>
                  <a:lnTo>
                    <a:pt x="5" y="6"/>
                  </a:lnTo>
                  <a:lnTo>
                    <a:pt x="2" y="6"/>
                  </a:lnTo>
                  <a:lnTo>
                    <a:pt x="0" y="6"/>
                  </a:lnTo>
                  <a:lnTo>
                    <a:pt x="0" y="14"/>
                  </a:lnTo>
                  <a:lnTo>
                    <a:pt x="0" y="18"/>
                  </a:lnTo>
                  <a:lnTo>
                    <a:pt x="5" y="17"/>
                  </a:lnTo>
                  <a:lnTo>
                    <a:pt x="8" y="17"/>
                  </a:lnTo>
                  <a:lnTo>
                    <a:pt x="10" y="18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1" y="23"/>
                  </a:lnTo>
                  <a:lnTo>
                    <a:pt x="12" y="25"/>
                  </a:lnTo>
                  <a:lnTo>
                    <a:pt x="23" y="25"/>
                  </a:lnTo>
                  <a:lnTo>
                    <a:pt x="31" y="25"/>
                  </a:lnTo>
                  <a:lnTo>
                    <a:pt x="32" y="26"/>
                  </a:lnTo>
                  <a:lnTo>
                    <a:pt x="33" y="27"/>
                  </a:lnTo>
                  <a:lnTo>
                    <a:pt x="33" y="28"/>
                  </a:lnTo>
                  <a:lnTo>
                    <a:pt x="32" y="29"/>
                  </a:lnTo>
                  <a:lnTo>
                    <a:pt x="31" y="31"/>
                  </a:lnTo>
                  <a:lnTo>
                    <a:pt x="21" y="32"/>
                  </a:lnTo>
                  <a:lnTo>
                    <a:pt x="10" y="33"/>
                  </a:lnTo>
                  <a:lnTo>
                    <a:pt x="21" y="34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2" y="37"/>
                  </a:lnTo>
                  <a:lnTo>
                    <a:pt x="12" y="36"/>
                  </a:lnTo>
                  <a:lnTo>
                    <a:pt x="13" y="35"/>
                  </a:lnTo>
                  <a:lnTo>
                    <a:pt x="16" y="35"/>
                  </a:lnTo>
                  <a:lnTo>
                    <a:pt x="20" y="43"/>
                  </a:lnTo>
                  <a:lnTo>
                    <a:pt x="25" y="50"/>
                  </a:lnTo>
                  <a:lnTo>
                    <a:pt x="26" y="47"/>
                  </a:lnTo>
                  <a:lnTo>
                    <a:pt x="27" y="45"/>
                  </a:lnTo>
                  <a:lnTo>
                    <a:pt x="29" y="44"/>
                  </a:lnTo>
                  <a:lnTo>
                    <a:pt x="28" y="44"/>
                  </a:lnTo>
                  <a:lnTo>
                    <a:pt x="31" y="44"/>
                  </a:lnTo>
                  <a:lnTo>
                    <a:pt x="33" y="45"/>
                  </a:lnTo>
                  <a:lnTo>
                    <a:pt x="34" y="45"/>
                  </a:lnTo>
                  <a:lnTo>
                    <a:pt x="34" y="46"/>
                  </a:lnTo>
                  <a:lnTo>
                    <a:pt x="33" y="46"/>
                  </a:lnTo>
                  <a:lnTo>
                    <a:pt x="35" y="47"/>
                  </a:lnTo>
                  <a:lnTo>
                    <a:pt x="38" y="48"/>
                  </a:lnTo>
                  <a:lnTo>
                    <a:pt x="40" y="49"/>
                  </a:lnTo>
                  <a:lnTo>
                    <a:pt x="42" y="50"/>
                  </a:lnTo>
                  <a:lnTo>
                    <a:pt x="43" y="52"/>
                  </a:lnTo>
                  <a:lnTo>
                    <a:pt x="43" y="54"/>
                  </a:lnTo>
                  <a:lnTo>
                    <a:pt x="43" y="56"/>
                  </a:lnTo>
                  <a:lnTo>
                    <a:pt x="44" y="57"/>
                  </a:lnTo>
                  <a:lnTo>
                    <a:pt x="44" y="58"/>
                  </a:lnTo>
                  <a:lnTo>
                    <a:pt x="47" y="59"/>
                  </a:lnTo>
                  <a:lnTo>
                    <a:pt x="51" y="60"/>
                  </a:lnTo>
                  <a:lnTo>
                    <a:pt x="57" y="61"/>
                  </a:lnTo>
                  <a:lnTo>
                    <a:pt x="64" y="61"/>
                  </a:lnTo>
                  <a:lnTo>
                    <a:pt x="67" y="62"/>
                  </a:lnTo>
                  <a:lnTo>
                    <a:pt x="69" y="64"/>
                  </a:lnTo>
                  <a:lnTo>
                    <a:pt x="70" y="65"/>
                  </a:lnTo>
                  <a:lnTo>
                    <a:pt x="70" y="67"/>
                  </a:lnTo>
                  <a:lnTo>
                    <a:pt x="71" y="70"/>
                  </a:lnTo>
                  <a:lnTo>
                    <a:pt x="71" y="71"/>
                  </a:lnTo>
                  <a:lnTo>
                    <a:pt x="72" y="72"/>
                  </a:lnTo>
                  <a:lnTo>
                    <a:pt x="73" y="71"/>
                  </a:lnTo>
                  <a:lnTo>
                    <a:pt x="74" y="70"/>
                  </a:lnTo>
                  <a:lnTo>
                    <a:pt x="75" y="69"/>
                  </a:lnTo>
                  <a:lnTo>
                    <a:pt x="79" y="71"/>
                  </a:lnTo>
                  <a:lnTo>
                    <a:pt x="85" y="73"/>
                  </a:lnTo>
                  <a:lnTo>
                    <a:pt x="90" y="94"/>
                  </a:lnTo>
                  <a:lnTo>
                    <a:pt x="93" y="104"/>
                  </a:lnTo>
                  <a:lnTo>
                    <a:pt x="94" y="114"/>
                  </a:lnTo>
                  <a:lnTo>
                    <a:pt x="92" y="114"/>
                  </a:lnTo>
                  <a:lnTo>
                    <a:pt x="90" y="114"/>
                  </a:lnTo>
                  <a:lnTo>
                    <a:pt x="88" y="113"/>
                  </a:lnTo>
                  <a:lnTo>
                    <a:pt x="87" y="114"/>
                  </a:lnTo>
                  <a:lnTo>
                    <a:pt x="85" y="115"/>
                  </a:lnTo>
                  <a:lnTo>
                    <a:pt x="83" y="118"/>
                  </a:lnTo>
                  <a:lnTo>
                    <a:pt x="79" y="123"/>
                  </a:lnTo>
                  <a:lnTo>
                    <a:pt x="82" y="122"/>
                  </a:lnTo>
                  <a:lnTo>
                    <a:pt x="85" y="122"/>
                  </a:lnTo>
                  <a:lnTo>
                    <a:pt x="92" y="121"/>
                  </a:lnTo>
                  <a:lnTo>
                    <a:pt x="92" y="117"/>
                  </a:lnTo>
                  <a:lnTo>
                    <a:pt x="96" y="117"/>
                  </a:lnTo>
                  <a:lnTo>
                    <a:pt x="101" y="118"/>
                  </a:lnTo>
                  <a:lnTo>
                    <a:pt x="106" y="119"/>
                  </a:lnTo>
                  <a:lnTo>
                    <a:pt x="108" y="119"/>
                  </a:lnTo>
                  <a:lnTo>
                    <a:pt x="110" y="119"/>
                  </a:lnTo>
                  <a:lnTo>
                    <a:pt x="113" y="127"/>
                  </a:lnTo>
                  <a:lnTo>
                    <a:pt x="117" y="135"/>
                  </a:lnTo>
                  <a:lnTo>
                    <a:pt x="122" y="134"/>
                  </a:lnTo>
                  <a:lnTo>
                    <a:pt x="127" y="134"/>
                  </a:lnTo>
                  <a:lnTo>
                    <a:pt x="138" y="133"/>
                  </a:lnTo>
                  <a:lnTo>
                    <a:pt x="143" y="132"/>
                  </a:lnTo>
                  <a:lnTo>
                    <a:pt x="147" y="131"/>
                  </a:lnTo>
                  <a:lnTo>
                    <a:pt x="150" y="128"/>
                  </a:lnTo>
                  <a:lnTo>
                    <a:pt x="151" y="127"/>
                  </a:lnTo>
                  <a:lnTo>
                    <a:pt x="152" y="125"/>
                  </a:lnTo>
                  <a:lnTo>
                    <a:pt x="152" y="123"/>
                  </a:lnTo>
                  <a:lnTo>
                    <a:pt x="152" y="120"/>
                  </a:lnTo>
                  <a:lnTo>
                    <a:pt x="152" y="118"/>
                  </a:lnTo>
                  <a:lnTo>
                    <a:pt x="152" y="115"/>
                  </a:lnTo>
                  <a:lnTo>
                    <a:pt x="160" y="116"/>
                  </a:lnTo>
                  <a:lnTo>
                    <a:pt x="165" y="116"/>
                  </a:lnTo>
                  <a:lnTo>
                    <a:pt x="170" y="117"/>
                  </a:lnTo>
                  <a:lnTo>
                    <a:pt x="175" y="118"/>
                  </a:lnTo>
                  <a:lnTo>
                    <a:pt x="180" y="120"/>
                  </a:lnTo>
                  <a:lnTo>
                    <a:pt x="183" y="122"/>
                  </a:lnTo>
                  <a:lnTo>
                    <a:pt x="185" y="124"/>
                  </a:lnTo>
                  <a:lnTo>
                    <a:pt x="186" y="125"/>
                  </a:lnTo>
                  <a:lnTo>
                    <a:pt x="187" y="128"/>
                  </a:lnTo>
                  <a:lnTo>
                    <a:pt x="188" y="131"/>
                  </a:lnTo>
                  <a:lnTo>
                    <a:pt x="188" y="134"/>
                  </a:lnTo>
                  <a:lnTo>
                    <a:pt x="189" y="136"/>
                  </a:lnTo>
                  <a:lnTo>
                    <a:pt x="190" y="137"/>
                  </a:lnTo>
                  <a:lnTo>
                    <a:pt x="192" y="137"/>
                  </a:lnTo>
                  <a:lnTo>
                    <a:pt x="194" y="137"/>
                  </a:lnTo>
                  <a:lnTo>
                    <a:pt x="196" y="138"/>
                  </a:lnTo>
                  <a:lnTo>
                    <a:pt x="198" y="139"/>
                  </a:lnTo>
                  <a:lnTo>
                    <a:pt x="204" y="150"/>
                  </a:lnTo>
                  <a:lnTo>
                    <a:pt x="207" y="151"/>
                  </a:lnTo>
                  <a:lnTo>
                    <a:pt x="211" y="153"/>
                  </a:lnTo>
                  <a:lnTo>
                    <a:pt x="219" y="154"/>
                  </a:lnTo>
                  <a:lnTo>
                    <a:pt x="229" y="156"/>
                  </a:lnTo>
                  <a:lnTo>
                    <a:pt x="236" y="158"/>
                  </a:lnTo>
                  <a:lnTo>
                    <a:pt x="236" y="155"/>
                  </a:lnTo>
                  <a:lnTo>
                    <a:pt x="236" y="152"/>
                  </a:lnTo>
                  <a:lnTo>
                    <a:pt x="232" y="150"/>
                  </a:lnTo>
                  <a:lnTo>
                    <a:pt x="230" y="150"/>
                  </a:lnTo>
                  <a:lnTo>
                    <a:pt x="229" y="148"/>
                  </a:lnTo>
                  <a:lnTo>
                    <a:pt x="230" y="146"/>
                  </a:lnTo>
                  <a:lnTo>
                    <a:pt x="231" y="145"/>
                  </a:lnTo>
                  <a:lnTo>
                    <a:pt x="231" y="144"/>
                  </a:lnTo>
                  <a:lnTo>
                    <a:pt x="228" y="143"/>
                  </a:lnTo>
                  <a:lnTo>
                    <a:pt x="226" y="143"/>
                  </a:lnTo>
                  <a:lnTo>
                    <a:pt x="223" y="143"/>
                  </a:lnTo>
                  <a:lnTo>
                    <a:pt x="221" y="142"/>
                  </a:lnTo>
                  <a:lnTo>
                    <a:pt x="220" y="142"/>
                  </a:lnTo>
                  <a:lnTo>
                    <a:pt x="220" y="140"/>
                  </a:lnTo>
                  <a:lnTo>
                    <a:pt x="220" y="138"/>
                  </a:lnTo>
                  <a:lnTo>
                    <a:pt x="221" y="135"/>
                  </a:lnTo>
                  <a:lnTo>
                    <a:pt x="219" y="134"/>
                  </a:lnTo>
                  <a:lnTo>
                    <a:pt x="217" y="134"/>
                  </a:lnTo>
                  <a:lnTo>
                    <a:pt x="215" y="134"/>
                  </a:lnTo>
                  <a:lnTo>
                    <a:pt x="213" y="133"/>
                  </a:lnTo>
                  <a:lnTo>
                    <a:pt x="212" y="131"/>
                  </a:lnTo>
                  <a:lnTo>
                    <a:pt x="212" y="130"/>
                  </a:lnTo>
                  <a:lnTo>
                    <a:pt x="211" y="126"/>
                  </a:lnTo>
                  <a:lnTo>
                    <a:pt x="211" y="123"/>
                  </a:lnTo>
                  <a:lnTo>
                    <a:pt x="210" y="121"/>
                  </a:lnTo>
                  <a:lnTo>
                    <a:pt x="209" y="119"/>
                  </a:lnTo>
                  <a:lnTo>
                    <a:pt x="208" y="118"/>
                  </a:lnTo>
                  <a:lnTo>
                    <a:pt x="206" y="118"/>
                  </a:lnTo>
                  <a:lnTo>
                    <a:pt x="204" y="118"/>
                  </a:lnTo>
                  <a:lnTo>
                    <a:pt x="202" y="117"/>
                  </a:lnTo>
                  <a:lnTo>
                    <a:pt x="201" y="116"/>
                  </a:lnTo>
                  <a:lnTo>
                    <a:pt x="200" y="114"/>
                  </a:lnTo>
                  <a:lnTo>
                    <a:pt x="199" y="112"/>
                  </a:lnTo>
                  <a:lnTo>
                    <a:pt x="198" y="109"/>
                  </a:lnTo>
                  <a:lnTo>
                    <a:pt x="196" y="100"/>
                  </a:lnTo>
                  <a:lnTo>
                    <a:pt x="201" y="98"/>
                  </a:lnTo>
                  <a:lnTo>
                    <a:pt x="206" y="96"/>
                  </a:lnTo>
                  <a:lnTo>
                    <a:pt x="204" y="85"/>
                  </a:lnTo>
                  <a:lnTo>
                    <a:pt x="202" y="84"/>
                  </a:lnTo>
                  <a:lnTo>
                    <a:pt x="201" y="84"/>
                  </a:lnTo>
                  <a:lnTo>
                    <a:pt x="199" y="85"/>
                  </a:lnTo>
                  <a:lnTo>
                    <a:pt x="196" y="85"/>
                  </a:lnTo>
                  <a:lnTo>
                    <a:pt x="194" y="85"/>
                  </a:lnTo>
                  <a:lnTo>
                    <a:pt x="193" y="84"/>
                  </a:lnTo>
                  <a:lnTo>
                    <a:pt x="193" y="83"/>
                  </a:lnTo>
                  <a:lnTo>
                    <a:pt x="192" y="81"/>
                  </a:lnTo>
                  <a:lnTo>
                    <a:pt x="191" y="79"/>
                  </a:lnTo>
                  <a:lnTo>
                    <a:pt x="190" y="77"/>
                  </a:lnTo>
                  <a:lnTo>
                    <a:pt x="187" y="76"/>
                  </a:lnTo>
                  <a:lnTo>
                    <a:pt x="184" y="76"/>
                  </a:lnTo>
                  <a:lnTo>
                    <a:pt x="181" y="76"/>
                  </a:lnTo>
                  <a:lnTo>
                    <a:pt x="179" y="75"/>
                  </a:lnTo>
                  <a:lnTo>
                    <a:pt x="178" y="74"/>
                  </a:lnTo>
                  <a:lnTo>
                    <a:pt x="178" y="71"/>
                  </a:lnTo>
                  <a:lnTo>
                    <a:pt x="179" y="69"/>
                  </a:lnTo>
                  <a:lnTo>
                    <a:pt x="179" y="67"/>
                  </a:lnTo>
                  <a:lnTo>
                    <a:pt x="175" y="63"/>
                  </a:lnTo>
                  <a:lnTo>
                    <a:pt x="171" y="58"/>
                  </a:lnTo>
                  <a:lnTo>
                    <a:pt x="170" y="58"/>
                  </a:lnTo>
                  <a:lnTo>
                    <a:pt x="168" y="58"/>
                  </a:lnTo>
                  <a:lnTo>
                    <a:pt x="167" y="58"/>
                  </a:lnTo>
                  <a:lnTo>
                    <a:pt x="165" y="58"/>
                  </a:lnTo>
                  <a:lnTo>
                    <a:pt x="164" y="57"/>
                  </a:lnTo>
                  <a:lnTo>
                    <a:pt x="162" y="54"/>
                  </a:lnTo>
                  <a:lnTo>
                    <a:pt x="161" y="52"/>
                  </a:lnTo>
                  <a:lnTo>
                    <a:pt x="160" y="50"/>
                  </a:lnTo>
                  <a:lnTo>
                    <a:pt x="156" y="49"/>
                  </a:lnTo>
                  <a:lnTo>
                    <a:pt x="153" y="47"/>
                  </a:lnTo>
                  <a:lnTo>
                    <a:pt x="144" y="45"/>
                  </a:lnTo>
                  <a:lnTo>
                    <a:pt x="136" y="43"/>
                  </a:lnTo>
                  <a:lnTo>
                    <a:pt x="132" y="42"/>
                  </a:lnTo>
                  <a:lnTo>
                    <a:pt x="129" y="41"/>
                  </a:lnTo>
                  <a:lnTo>
                    <a:pt x="125" y="38"/>
                  </a:lnTo>
                  <a:lnTo>
                    <a:pt x="117" y="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9" name="Freeform 30"/>
            <p:cNvSpPr>
              <a:spLocks/>
            </p:cNvSpPr>
            <p:nvPr/>
          </p:nvSpPr>
          <p:spPr bwMode="auto">
            <a:xfrm>
              <a:off x="4099" y="2303"/>
              <a:ext cx="127" cy="161"/>
            </a:xfrm>
            <a:custGeom>
              <a:avLst/>
              <a:gdLst>
                <a:gd name="T0" fmla="*/ 66 w 127"/>
                <a:gd name="T1" fmla="*/ 40 h 161"/>
                <a:gd name="T2" fmla="*/ 56 w 127"/>
                <a:gd name="T3" fmla="*/ 58 h 161"/>
                <a:gd name="T4" fmla="*/ 52 w 127"/>
                <a:gd name="T5" fmla="*/ 62 h 161"/>
                <a:gd name="T6" fmla="*/ 43 w 127"/>
                <a:gd name="T7" fmla="*/ 62 h 161"/>
                <a:gd name="T8" fmla="*/ 35 w 127"/>
                <a:gd name="T9" fmla="*/ 65 h 161"/>
                <a:gd name="T10" fmla="*/ 31 w 127"/>
                <a:gd name="T11" fmla="*/ 71 h 161"/>
                <a:gd name="T12" fmla="*/ 29 w 127"/>
                <a:gd name="T13" fmla="*/ 85 h 161"/>
                <a:gd name="T14" fmla="*/ 3 w 127"/>
                <a:gd name="T15" fmla="*/ 87 h 161"/>
                <a:gd name="T16" fmla="*/ 0 w 127"/>
                <a:gd name="T17" fmla="*/ 98 h 161"/>
                <a:gd name="T18" fmla="*/ 6 w 127"/>
                <a:gd name="T19" fmla="*/ 119 h 161"/>
                <a:gd name="T20" fmla="*/ 6 w 127"/>
                <a:gd name="T21" fmla="*/ 124 h 161"/>
                <a:gd name="T22" fmla="*/ 9 w 127"/>
                <a:gd name="T23" fmla="*/ 124 h 161"/>
                <a:gd name="T24" fmla="*/ 18 w 127"/>
                <a:gd name="T25" fmla="*/ 142 h 161"/>
                <a:gd name="T26" fmla="*/ 30 w 127"/>
                <a:gd name="T27" fmla="*/ 151 h 161"/>
                <a:gd name="T28" fmla="*/ 39 w 127"/>
                <a:gd name="T29" fmla="*/ 150 h 161"/>
                <a:gd name="T30" fmla="*/ 53 w 127"/>
                <a:gd name="T31" fmla="*/ 154 h 161"/>
                <a:gd name="T32" fmla="*/ 74 w 127"/>
                <a:gd name="T33" fmla="*/ 158 h 161"/>
                <a:gd name="T34" fmla="*/ 74 w 127"/>
                <a:gd name="T35" fmla="*/ 160 h 161"/>
                <a:gd name="T36" fmla="*/ 83 w 127"/>
                <a:gd name="T37" fmla="*/ 156 h 161"/>
                <a:gd name="T38" fmla="*/ 88 w 127"/>
                <a:gd name="T39" fmla="*/ 156 h 161"/>
                <a:gd name="T40" fmla="*/ 90 w 127"/>
                <a:gd name="T41" fmla="*/ 154 h 161"/>
                <a:gd name="T42" fmla="*/ 92 w 127"/>
                <a:gd name="T43" fmla="*/ 147 h 161"/>
                <a:gd name="T44" fmla="*/ 97 w 127"/>
                <a:gd name="T45" fmla="*/ 140 h 161"/>
                <a:gd name="T46" fmla="*/ 101 w 127"/>
                <a:gd name="T47" fmla="*/ 134 h 161"/>
                <a:gd name="T48" fmla="*/ 102 w 127"/>
                <a:gd name="T49" fmla="*/ 126 h 161"/>
                <a:gd name="T50" fmla="*/ 106 w 127"/>
                <a:gd name="T51" fmla="*/ 112 h 161"/>
                <a:gd name="T52" fmla="*/ 112 w 127"/>
                <a:gd name="T53" fmla="*/ 95 h 161"/>
                <a:gd name="T54" fmla="*/ 122 w 127"/>
                <a:gd name="T55" fmla="*/ 94 h 161"/>
                <a:gd name="T56" fmla="*/ 120 w 127"/>
                <a:gd name="T57" fmla="*/ 90 h 161"/>
                <a:gd name="T58" fmla="*/ 117 w 127"/>
                <a:gd name="T59" fmla="*/ 87 h 161"/>
                <a:gd name="T60" fmla="*/ 110 w 127"/>
                <a:gd name="T61" fmla="*/ 83 h 161"/>
                <a:gd name="T62" fmla="*/ 110 w 127"/>
                <a:gd name="T63" fmla="*/ 75 h 161"/>
                <a:gd name="T64" fmla="*/ 109 w 127"/>
                <a:gd name="T65" fmla="*/ 65 h 161"/>
                <a:gd name="T66" fmla="*/ 104 w 127"/>
                <a:gd name="T67" fmla="*/ 60 h 161"/>
                <a:gd name="T68" fmla="*/ 106 w 127"/>
                <a:gd name="T69" fmla="*/ 54 h 161"/>
                <a:gd name="T70" fmla="*/ 106 w 127"/>
                <a:gd name="T71" fmla="*/ 52 h 161"/>
                <a:gd name="T72" fmla="*/ 104 w 127"/>
                <a:gd name="T73" fmla="*/ 44 h 161"/>
                <a:gd name="T74" fmla="*/ 114 w 127"/>
                <a:gd name="T75" fmla="*/ 42 h 161"/>
                <a:gd name="T76" fmla="*/ 117 w 127"/>
                <a:gd name="T77" fmla="*/ 35 h 161"/>
                <a:gd name="T78" fmla="*/ 117 w 127"/>
                <a:gd name="T79" fmla="*/ 31 h 161"/>
                <a:gd name="T80" fmla="*/ 122 w 127"/>
                <a:gd name="T81" fmla="*/ 33 h 161"/>
                <a:gd name="T82" fmla="*/ 126 w 127"/>
                <a:gd name="T83" fmla="*/ 27 h 161"/>
                <a:gd name="T84" fmla="*/ 122 w 127"/>
                <a:gd name="T85" fmla="*/ 19 h 161"/>
                <a:gd name="T86" fmla="*/ 114 w 127"/>
                <a:gd name="T87" fmla="*/ 17 h 161"/>
                <a:gd name="T88" fmla="*/ 112 w 127"/>
                <a:gd name="T89" fmla="*/ 15 h 161"/>
                <a:gd name="T90" fmla="*/ 114 w 127"/>
                <a:gd name="T91" fmla="*/ 10 h 161"/>
                <a:gd name="T92" fmla="*/ 97 w 127"/>
                <a:gd name="T93" fmla="*/ 0 h 161"/>
                <a:gd name="T94" fmla="*/ 97 w 127"/>
                <a:gd name="T95" fmla="*/ 6 h 161"/>
                <a:gd name="T96" fmla="*/ 89 w 127"/>
                <a:gd name="T97" fmla="*/ 16 h 161"/>
                <a:gd name="T98" fmla="*/ 85 w 127"/>
                <a:gd name="T99" fmla="*/ 26 h 161"/>
                <a:gd name="T100" fmla="*/ 83 w 127"/>
                <a:gd name="T101" fmla="*/ 34 h 161"/>
                <a:gd name="T102" fmla="*/ 76 w 127"/>
                <a:gd name="T103" fmla="*/ 35 h 161"/>
                <a:gd name="T104" fmla="*/ 74 w 127"/>
                <a:gd name="T105" fmla="*/ 40 h 161"/>
                <a:gd name="T106" fmla="*/ 71 w 127"/>
                <a:gd name="T107" fmla="*/ 40 h 16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27"/>
                <a:gd name="T163" fmla="*/ 0 h 161"/>
                <a:gd name="T164" fmla="*/ 127 w 127"/>
                <a:gd name="T165" fmla="*/ 161 h 16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27" h="161">
                  <a:moveTo>
                    <a:pt x="69" y="42"/>
                  </a:moveTo>
                  <a:lnTo>
                    <a:pt x="67" y="41"/>
                  </a:lnTo>
                  <a:lnTo>
                    <a:pt x="66" y="40"/>
                  </a:lnTo>
                  <a:lnTo>
                    <a:pt x="64" y="44"/>
                  </a:lnTo>
                  <a:lnTo>
                    <a:pt x="60" y="51"/>
                  </a:lnTo>
                  <a:lnTo>
                    <a:pt x="56" y="58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2" y="62"/>
                  </a:lnTo>
                  <a:lnTo>
                    <a:pt x="49" y="62"/>
                  </a:lnTo>
                  <a:lnTo>
                    <a:pt x="46" y="62"/>
                  </a:lnTo>
                  <a:lnTo>
                    <a:pt x="43" y="62"/>
                  </a:lnTo>
                  <a:lnTo>
                    <a:pt x="38" y="63"/>
                  </a:lnTo>
                  <a:lnTo>
                    <a:pt x="36" y="64"/>
                  </a:lnTo>
                  <a:lnTo>
                    <a:pt x="35" y="65"/>
                  </a:lnTo>
                  <a:lnTo>
                    <a:pt x="34" y="66"/>
                  </a:lnTo>
                  <a:lnTo>
                    <a:pt x="33" y="68"/>
                  </a:lnTo>
                  <a:lnTo>
                    <a:pt x="31" y="71"/>
                  </a:lnTo>
                  <a:lnTo>
                    <a:pt x="31" y="75"/>
                  </a:lnTo>
                  <a:lnTo>
                    <a:pt x="30" y="78"/>
                  </a:lnTo>
                  <a:lnTo>
                    <a:pt x="29" y="85"/>
                  </a:lnTo>
                  <a:lnTo>
                    <a:pt x="20" y="79"/>
                  </a:lnTo>
                  <a:lnTo>
                    <a:pt x="10" y="75"/>
                  </a:lnTo>
                  <a:lnTo>
                    <a:pt x="3" y="87"/>
                  </a:lnTo>
                  <a:lnTo>
                    <a:pt x="1" y="91"/>
                  </a:lnTo>
                  <a:lnTo>
                    <a:pt x="0" y="94"/>
                  </a:lnTo>
                  <a:lnTo>
                    <a:pt x="0" y="98"/>
                  </a:lnTo>
                  <a:lnTo>
                    <a:pt x="1" y="103"/>
                  </a:lnTo>
                  <a:lnTo>
                    <a:pt x="5" y="119"/>
                  </a:lnTo>
                  <a:lnTo>
                    <a:pt x="6" y="119"/>
                  </a:lnTo>
                  <a:lnTo>
                    <a:pt x="6" y="120"/>
                  </a:lnTo>
                  <a:lnTo>
                    <a:pt x="7" y="122"/>
                  </a:lnTo>
                  <a:lnTo>
                    <a:pt x="6" y="124"/>
                  </a:lnTo>
                  <a:lnTo>
                    <a:pt x="5" y="125"/>
                  </a:lnTo>
                  <a:lnTo>
                    <a:pt x="7" y="125"/>
                  </a:lnTo>
                  <a:lnTo>
                    <a:pt x="9" y="124"/>
                  </a:lnTo>
                  <a:lnTo>
                    <a:pt x="12" y="121"/>
                  </a:lnTo>
                  <a:lnTo>
                    <a:pt x="16" y="135"/>
                  </a:lnTo>
                  <a:lnTo>
                    <a:pt x="18" y="142"/>
                  </a:lnTo>
                  <a:lnTo>
                    <a:pt x="20" y="150"/>
                  </a:lnTo>
                  <a:lnTo>
                    <a:pt x="25" y="150"/>
                  </a:lnTo>
                  <a:lnTo>
                    <a:pt x="30" y="151"/>
                  </a:lnTo>
                  <a:lnTo>
                    <a:pt x="34" y="151"/>
                  </a:lnTo>
                  <a:lnTo>
                    <a:pt x="37" y="150"/>
                  </a:lnTo>
                  <a:lnTo>
                    <a:pt x="39" y="150"/>
                  </a:lnTo>
                  <a:lnTo>
                    <a:pt x="39" y="156"/>
                  </a:lnTo>
                  <a:lnTo>
                    <a:pt x="49" y="158"/>
                  </a:lnTo>
                  <a:lnTo>
                    <a:pt x="53" y="154"/>
                  </a:lnTo>
                  <a:lnTo>
                    <a:pt x="61" y="154"/>
                  </a:lnTo>
                  <a:lnTo>
                    <a:pt x="68" y="154"/>
                  </a:lnTo>
                  <a:lnTo>
                    <a:pt x="74" y="158"/>
                  </a:lnTo>
                  <a:lnTo>
                    <a:pt x="73" y="158"/>
                  </a:lnTo>
                  <a:lnTo>
                    <a:pt x="73" y="159"/>
                  </a:lnTo>
                  <a:lnTo>
                    <a:pt x="74" y="160"/>
                  </a:lnTo>
                  <a:lnTo>
                    <a:pt x="76" y="161"/>
                  </a:lnTo>
                  <a:lnTo>
                    <a:pt x="79" y="158"/>
                  </a:lnTo>
                  <a:lnTo>
                    <a:pt x="83" y="156"/>
                  </a:lnTo>
                  <a:lnTo>
                    <a:pt x="84" y="156"/>
                  </a:lnTo>
                  <a:lnTo>
                    <a:pt x="86" y="156"/>
                  </a:lnTo>
                  <a:lnTo>
                    <a:pt x="88" y="156"/>
                  </a:lnTo>
                  <a:lnTo>
                    <a:pt x="89" y="156"/>
                  </a:lnTo>
                  <a:lnTo>
                    <a:pt x="90" y="155"/>
                  </a:lnTo>
                  <a:lnTo>
                    <a:pt x="90" y="154"/>
                  </a:lnTo>
                  <a:lnTo>
                    <a:pt x="91" y="151"/>
                  </a:lnTo>
                  <a:lnTo>
                    <a:pt x="92" y="148"/>
                  </a:lnTo>
                  <a:lnTo>
                    <a:pt x="92" y="147"/>
                  </a:lnTo>
                  <a:lnTo>
                    <a:pt x="93" y="146"/>
                  </a:lnTo>
                  <a:lnTo>
                    <a:pt x="95" y="144"/>
                  </a:lnTo>
                  <a:lnTo>
                    <a:pt x="97" y="140"/>
                  </a:lnTo>
                  <a:lnTo>
                    <a:pt x="100" y="141"/>
                  </a:lnTo>
                  <a:lnTo>
                    <a:pt x="102" y="140"/>
                  </a:lnTo>
                  <a:lnTo>
                    <a:pt x="101" y="134"/>
                  </a:lnTo>
                  <a:lnTo>
                    <a:pt x="99" y="129"/>
                  </a:lnTo>
                  <a:lnTo>
                    <a:pt x="101" y="127"/>
                  </a:lnTo>
                  <a:lnTo>
                    <a:pt x="102" y="126"/>
                  </a:lnTo>
                  <a:lnTo>
                    <a:pt x="102" y="125"/>
                  </a:lnTo>
                  <a:lnTo>
                    <a:pt x="106" y="123"/>
                  </a:lnTo>
                  <a:lnTo>
                    <a:pt x="106" y="112"/>
                  </a:lnTo>
                  <a:lnTo>
                    <a:pt x="106" y="100"/>
                  </a:lnTo>
                  <a:lnTo>
                    <a:pt x="110" y="97"/>
                  </a:lnTo>
                  <a:lnTo>
                    <a:pt x="112" y="95"/>
                  </a:lnTo>
                  <a:lnTo>
                    <a:pt x="114" y="94"/>
                  </a:lnTo>
                  <a:lnTo>
                    <a:pt x="118" y="94"/>
                  </a:lnTo>
                  <a:lnTo>
                    <a:pt x="122" y="94"/>
                  </a:lnTo>
                  <a:lnTo>
                    <a:pt x="121" y="93"/>
                  </a:lnTo>
                  <a:lnTo>
                    <a:pt x="121" y="91"/>
                  </a:lnTo>
                  <a:lnTo>
                    <a:pt x="120" y="90"/>
                  </a:lnTo>
                  <a:lnTo>
                    <a:pt x="120" y="89"/>
                  </a:lnTo>
                  <a:lnTo>
                    <a:pt x="120" y="88"/>
                  </a:lnTo>
                  <a:lnTo>
                    <a:pt x="117" y="87"/>
                  </a:lnTo>
                  <a:lnTo>
                    <a:pt x="114" y="86"/>
                  </a:lnTo>
                  <a:lnTo>
                    <a:pt x="112" y="85"/>
                  </a:lnTo>
                  <a:lnTo>
                    <a:pt x="110" y="83"/>
                  </a:lnTo>
                  <a:lnTo>
                    <a:pt x="110" y="81"/>
                  </a:lnTo>
                  <a:lnTo>
                    <a:pt x="109" y="79"/>
                  </a:lnTo>
                  <a:lnTo>
                    <a:pt x="110" y="75"/>
                  </a:lnTo>
                  <a:lnTo>
                    <a:pt x="110" y="71"/>
                  </a:lnTo>
                  <a:lnTo>
                    <a:pt x="110" y="67"/>
                  </a:lnTo>
                  <a:lnTo>
                    <a:pt x="109" y="65"/>
                  </a:lnTo>
                  <a:lnTo>
                    <a:pt x="107" y="63"/>
                  </a:lnTo>
                  <a:lnTo>
                    <a:pt x="105" y="61"/>
                  </a:lnTo>
                  <a:lnTo>
                    <a:pt x="104" y="60"/>
                  </a:lnTo>
                  <a:lnTo>
                    <a:pt x="104" y="58"/>
                  </a:lnTo>
                  <a:lnTo>
                    <a:pt x="105" y="55"/>
                  </a:lnTo>
                  <a:lnTo>
                    <a:pt x="106" y="54"/>
                  </a:lnTo>
                  <a:lnTo>
                    <a:pt x="107" y="54"/>
                  </a:lnTo>
                  <a:lnTo>
                    <a:pt x="107" y="53"/>
                  </a:lnTo>
                  <a:lnTo>
                    <a:pt x="106" y="52"/>
                  </a:lnTo>
                  <a:lnTo>
                    <a:pt x="106" y="51"/>
                  </a:lnTo>
                  <a:lnTo>
                    <a:pt x="108" y="52"/>
                  </a:lnTo>
                  <a:lnTo>
                    <a:pt x="104" y="44"/>
                  </a:lnTo>
                  <a:lnTo>
                    <a:pt x="110" y="44"/>
                  </a:lnTo>
                  <a:lnTo>
                    <a:pt x="112" y="43"/>
                  </a:lnTo>
                  <a:lnTo>
                    <a:pt x="114" y="42"/>
                  </a:lnTo>
                  <a:lnTo>
                    <a:pt x="116" y="41"/>
                  </a:lnTo>
                  <a:lnTo>
                    <a:pt x="117" y="39"/>
                  </a:lnTo>
                  <a:lnTo>
                    <a:pt x="117" y="35"/>
                  </a:lnTo>
                  <a:lnTo>
                    <a:pt x="116" y="33"/>
                  </a:lnTo>
                  <a:lnTo>
                    <a:pt x="116" y="31"/>
                  </a:lnTo>
                  <a:lnTo>
                    <a:pt x="117" y="31"/>
                  </a:lnTo>
                  <a:lnTo>
                    <a:pt x="118" y="32"/>
                  </a:lnTo>
                  <a:lnTo>
                    <a:pt x="120" y="33"/>
                  </a:lnTo>
                  <a:lnTo>
                    <a:pt x="122" y="33"/>
                  </a:lnTo>
                  <a:lnTo>
                    <a:pt x="125" y="29"/>
                  </a:lnTo>
                  <a:lnTo>
                    <a:pt x="127" y="29"/>
                  </a:lnTo>
                  <a:lnTo>
                    <a:pt x="126" y="27"/>
                  </a:lnTo>
                  <a:lnTo>
                    <a:pt x="125" y="24"/>
                  </a:lnTo>
                  <a:lnTo>
                    <a:pt x="123" y="21"/>
                  </a:lnTo>
                  <a:lnTo>
                    <a:pt x="122" y="19"/>
                  </a:lnTo>
                  <a:lnTo>
                    <a:pt x="119" y="18"/>
                  </a:lnTo>
                  <a:lnTo>
                    <a:pt x="116" y="18"/>
                  </a:lnTo>
                  <a:lnTo>
                    <a:pt x="114" y="17"/>
                  </a:lnTo>
                  <a:lnTo>
                    <a:pt x="113" y="16"/>
                  </a:lnTo>
                  <a:lnTo>
                    <a:pt x="112" y="16"/>
                  </a:lnTo>
                  <a:lnTo>
                    <a:pt x="112" y="15"/>
                  </a:lnTo>
                  <a:lnTo>
                    <a:pt x="111" y="14"/>
                  </a:lnTo>
                  <a:lnTo>
                    <a:pt x="112" y="12"/>
                  </a:lnTo>
                  <a:lnTo>
                    <a:pt x="114" y="10"/>
                  </a:lnTo>
                  <a:lnTo>
                    <a:pt x="106" y="4"/>
                  </a:lnTo>
                  <a:lnTo>
                    <a:pt x="102" y="2"/>
                  </a:lnTo>
                  <a:lnTo>
                    <a:pt x="97" y="0"/>
                  </a:lnTo>
                  <a:lnTo>
                    <a:pt x="96" y="2"/>
                  </a:lnTo>
                  <a:lnTo>
                    <a:pt x="97" y="4"/>
                  </a:lnTo>
                  <a:lnTo>
                    <a:pt x="97" y="6"/>
                  </a:lnTo>
                  <a:lnTo>
                    <a:pt x="97" y="8"/>
                  </a:lnTo>
                  <a:lnTo>
                    <a:pt x="93" y="10"/>
                  </a:lnTo>
                  <a:lnTo>
                    <a:pt x="89" y="16"/>
                  </a:lnTo>
                  <a:lnTo>
                    <a:pt x="86" y="21"/>
                  </a:lnTo>
                  <a:lnTo>
                    <a:pt x="85" y="24"/>
                  </a:lnTo>
                  <a:lnTo>
                    <a:pt x="85" y="26"/>
                  </a:lnTo>
                  <a:lnTo>
                    <a:pt x="85" y="29"/>
                  </a:lnTo>
                  <a:lnTo>
                    <a:pt x="85" y="33"/>
                  </a:lnTo>
                  <a:lnTo>
                    <a:pt x="83" y="34"/>
                  </a:lnTo>
                  <a:lnTo>
                    <a:pt x="80" y="34"/>
                  </a:lnTo>
                  <a:lnTo>
                    <a:pt x="78" y="34"/>
                  </a:lnTo>
                  <a:lnTo>
                    <a:pt x="76" y="35"/>
                  </a:lnTo>
                  <a:lnTo>
                    <a:pt x="75" y="36"/>
                  </a:lnTo>
                  <a:lnTo>
                    <a:pt x="74" y="38"/>
                  </a:lnTo>
                  <a:lnTo>
                    <a:pt x="74" y="40"/>
                  </a:lnTo>
                  <a:lnTo>
                    <a:pt x="73" y="41"/>
                  </a:lnTo>
                  <a:lnTo>
                    <a:pt x="72" y="40"/>
                  </a:lnTo>
                  <a:lnTo>
                    <a:pt x="71" y="40"/>
                  </a:lnTo>
                  <a:lnTo>
                    <a:pt x="70" y="41"/>
                  </a:lnTo>
                  <a:lnTo>
                    <a:pt x="69" y="4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8940315" y="4725144"/>
            <a:ext cx="2556359" cy="1620094"/>
          </a:xfrm>
          <a:solidFill>
            <a:schemeClr val="bg1"/>
          </a:solidFill>
        </p:spPr>
        <p:txBody>
          <a:bodyPr lIns="144000" tIns="108000" rIns="144000" bIns="108000"/>
          <a:lstStyle>
            <a:lvl1pPr marL="0" indent="0">
              <a:buNone/>
              <a:defRPr sz="1400">
                <a:solidFill>
                  <a:schemeClr val="accent1"/>
                </a:solidFill>
              </a:defRPr>
            </a:lvl1pPr>
            <a:lvl2pPr marL="182563" indent="-182563">
              <a:buFont typeface="Arial" panose="020B0604020202020204" pitchFamily="34" charset="0"/>
              <a:buChar char="•"/>
              <a:defRPr sz="1400">
                <a:solidFill>
                  <a:schemeClr val="accent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Content Placeholder 39"/>
          <p:cNvSpPr>
            <a:spLocks noGrp="1"/>
          </p:cNvSpPr>
          <p:nvPr>
            <p:ph sz="quarter" idx="16"/>
          </p:nvPr>
        </p:nvSpPr>
        <p:spPr>
          <a:xfrm>
            <a:off x="695325" y="2133600"/>
            <a:ext cx="5292725" cy="4211638"/>
          </a:xfrm>
        </p:spPr>
        <p:txBody>
          <a:bodyPr/>
          <a:lstStyle>
            <a:lvl1pPr marL="0" indent="0">
              <a:buNone/>
              <a:defRPr>
                <a:solidFill>
                  <a:schemeClr val="accent2"/>
                </a:solidFill>
              </a:defRPr>
            </a:lvl1pPr>
            <a:lvl2pPr marL="266700" indent="-266700">
              <a:buFont typeface="Arial" panose="020B0604020202020204" pitchFamily="34" charset="0"/>
              <a:buChar char="•"/>
              <a:defRPr/>
            </a:lvl2pPr>
            <a:lvl3pPr marL="539750" indent="-273050">
              <a:buFont typeface="Arial" panose="020B0604020202020204" pitchFamily="34" charset="0"/>
              <a:buChar char="‒"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2" name="Rectangle 41"/>
          <p:cNvSpPr/>
          <p:nvPr userDrawn="1"/>
        </p:nvSpPr>
        <p:spPr>
          <a:xfrm>
            <a:off x="8867775" y="4725144"/>
            <a:ext cx="72541" cy="16200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913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Picture layout with Headlin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/>
          <p:cNvPicPr>
            <a:picLocks noChangeAspect="1"/>
          </p:cNvPicPr>
          <p:nvPr userDrawn="1"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600" y="0"/>
            <a:ext cx="12195600" cy="6611696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3600" y="-3600"/>
            <a:ext cx="4307052" cy="410400"/>
          </a:xfrm>
          <a:custGeom>
            <a:avLst/>
            <a:gdLst>
              <a:gd name="connsiteX0" fmla="*/ 0 w 4726081"/>
              <a:gd name="connsiteY0" fmla="*/ 503655 h 503655"/>
              <a:gd name="connsiteX1" fmla="*/ 125914 w 4726081"/>
              <a:gd name="connsiteY1" fmla="*/ 0 h 503655"/>
              <a:gd name="connsiteX2" fmla="*/ 4726081 w 4726081"/>
              <a:gd name="connsiteY2" fmla="*/ 0 h 503655"/>
              <a:gd name="connsiteX3" fmla="*/ 4600167 w 4726081"/>
              <a:gd name="connsiteY3" fmla="*/ 503655 h 503655"/>
              <a:gd name="connsiteX4" fmla="*/ 0 w 4726081"/>
              <a:gd name="connsiteY4" fmla="*/ 503655 h 503655"/>
              <a:gd name="connsiteX0" fmla="*/ 0 w 4726081"/>
              <a:gd name="connsiteY0" fmla="*/ 503655 h 503655"/>
              <a:gd name="connsiteX1" fmla="*/ 430714 w 4726081"/>
              <a:gd name="connsiteY1" fmla="*/ 0 h 503655"/>
              <a:gd name="connsiteX2" fmla="*/ 4726081 w 4726081"/>
              <a:gd name="connsiteY2" fmla="*/ 0 h 503655"/>
              <a:gd name="connsiteX3" fmla="*/ 4600167 w 4726081"/>
              <a:gd name="connsiteY3" fmla="*/ 503655 h 503655"/>
              <a:gd name="connsiteX4" fmla="*/ 0 w 4726081"/>
              <a:gd name="connsiteY4" fmla="*/ 503655 h 503655"/>
              <a:gd name="connsiteX0" fmla="*/ 0 w 4306981"/>
              <a:gd name="connsiteY0" fmla="*/ 497305 h 503655"/>
              <a:gd name="connsiteX1" fmla="*/ 11614 w 4306981"/>
              <a:gd name="connsiteY1" fmla="*/ 0 h 503655"/>
              <a:gd name="connsiteX2" fmla="*/ 4306981 w 4306981"/>
              <a:gd name="connsiteY2" fmla="*/ 0 h 503655"/>
              <a:gd name="connsiteX3" fmla="*/ 4181067 w 4306981"/>
              <a:gd name="connsiteY3" fmla="*/ 503655 h 503655"/>
              <a:gd name="connsiteX4" fmla="*/ 0 w 4306981"/>
              <a:gd name="connsiteY4" fmla="*/ 497305 h 503655"/>
              <a:gd name="connsiteX0" fmla="*/ 7436 w 4314417"/>
              <a:gd name="connsiteY0" fmla="*/ 497305 h 503655"/>
              <a:gd name="connsiteX1" fmla="*/ 0 w 4314417"/>
              <a:gd name="connsiteY1" fmla="*/ 0 h 503655"/>
              <a:gd name="connsiteX2" fmla="*/ 4314417 w 4314417"/>
              <a:gd name="connsiteY2" fmla="*/ 0 h 503655"/>
              <a:gd name="connsiteX3" fmla="*/ 4188503 w 4314417"/>
              <a:gd name="connsiteY3" fmla="*/ 503655 h 503655"/>
              <a:gd name="connsiteX4" fmla="*/ 7436 w 4314417"/>
              <a:gd name="connsiteY4" fmla="*/ 497305 h 503655"/>
              <a:gd name="connsiteX0" fmla="*/ 0 w 4306981"/>
              <a:gd name="connsiteY0" fmla="*/ 497305 h 503655"/>
              <a:gd name="connsiteX1" fmla="*/ 5264 w 4306981"/>
              <a:gd name="connsiteY1" fmla="*/ 0 h 503655"/>
              <a:gd name="connsiteX2" fmla="*/ 4306981 w 4306981"/>
              <a:gd name="connsiteY2" fmla="*/ 0 h 503655"/>
              <a:gd name="connsiteX3" fmla="*/ 4181067 w 4306981"/>
              <a:gd name="connsiteY3" fmla="*/ 503655 h 503655"/>
              <a:gd name="connsiteX4" fmla="*/ 0 w 4306981"/>
              <a:gd name="connsiteY4" fmla="*/ 497305 h 503655"/>
              <a:gd name="connsiteX0" fmla="*/ 0 w 4306981"/>
              <a:gd name="connsiteY0" fmla="*/ 497305 h 503655"/>
              <a:gd name="connsiteX1" fmla="*/ 5264 w 4306981"/>
              <a:gd name="connsiteY1" fmla="*/ 0 h 503655"/>
              <a:gd name="connsiteX2" fmla="*/ 4306981 w 4306981"/>
              <a:gd name="connsiteY2" fmla="*/ 0 h 503655"/>
              <a:gd name="connsiteX3" fmla="*/ 4206467 w 4306981"/>
              <a:gd name="connsiteY3" fmla="*/ 503655 h 503655"/>
              <a:gd name="connsiteX4" fmla="*/ 0 w 4306981"/>
              <a:gd name="connsiteY4" fmla="*/ 497305 h 503655"/>
              <a:gd name="connsiteX0" fmla="*/ 2236 w 4309217"/>
              <a:gd name="connsiteY0" fmla="*/ 497305 h 503655"/>
              <a:gd name="connsiteX1" fmla="*/ 356 w 4309217"/>
              <a:gd name="connsiteY1" fmla="*/ 0 h 503655"/>
              <a:gd name="connsiteX2" fmla="*/ 4309217 w 4309217"/>
              <a:gd name="connsiteY2" fmla="*/ 0 h 503655"/>
              <a:gd name="connsiteX3" fmla="*/ 4208703 w 4309217"/>
              <a:gd name="connsiteY3" fmla="*/ 503655 h 503655"/>
              <a:gd name="connsiteX4" fmla="*/ 2236 w 4309217"/>
              <a:gd name="connsiteY4" fmla="*/ 497305 h 503655"/>
              <a:gd name="connsiteX0" fmla="*/ 71 w 4307052"/>
              <a:gd name="connsiteY0" fmla="*/ 497305 h 503655"/>
              <a:gd name="connsiteX1" fmla="*/ 573 w 4307052"/>
              <a:gd name="connsiteY1" fmla="*/ 0 h 503655"/>
              <a:gd name="connsiteX2" fmla="*/ 4307052 w 4307052"/>
              <a:gd name="connsiteY2" fmla="*/ 0 h 503655"/>
              <a:gd name="connsiteX3" fmla="*/ 4206538 w 4307052"/>
              <a:gd name="connsiteY3" fmla="*/ 503655 h 503655"/>
              <a:gd name="connsiteX4" fmla="*/ 71 w 4307052"/>
              <a:gd name="connsiteY4" fmla="*/ 497305 h 503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7052" h="503655">
                <a:moveTo>
                  <a:pt x="71" y="497305"/>
                </a:moveTo>
                <a:cubicBezTo>
                  <a:pt x="1826" y="331537"/>
                  <a:pt x="-1182" y="165768"/>
                  <a:pt x="573" y="0"/>
                </a:cubicBezTo>
                <a:lnTo>
                  <a:pt x="4307052" y="0"/>
                </a:lnTo>
                <a:lnTo>
                  <a:pt x="4206538" y="503655"/>
                </a:lnTo>
                <a:lnTo>
                  <a:pt x="71" y="497305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vert="horz" wrap="none" lIns="288000" tIns="108000" rIns="288000" bIns="108000" rtlCol="0" anchor="ctr" anchorCtr="0">
            <a:spAutoFit/>
          </a:bodyPr>
          <a:lstStyle>
            <a:lvl1pPr algn="l">
              <a:defRPr lang="fi-FI" sz="1400" cap="all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</a:pPr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0C41EA6E-0DF4-424A-9044-E7A680EDFCFC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16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Document ID </a:t>
            </a:r>
          </a:p>
        </p:txBody>
      </p:sp>
      <p:sp>
        <p:nvSpPr>
          <p:cNvPr id="17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086795">
                    <a:lumMod val="75000"/>
                  </a:srgbClr>
                </a:solidFill>
              </a:rPr>
              <a:t> </a:t>
            </a:r>
            <a:endParaRPr lang="fi-FI" sz="700" dirty="0">
              <a:solidFill>
                <a:srgbClr val="086795">
                  <a:lumMod val="75000"/>
                </a:srgbClr>
              </a:solidFill>
            </a:endParaRPr>
          </a:p>
        </p:txBody>
      </p:sp>
      <p:sp>
        <p:nvSpPr>
          <p:cNvPr id="18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086795">
                    <a:lumMod val="75000"/>
                  </a:srgbClr>
                </a:solidFill>
              </a:rPr>
              <a:t>Revision</a:t>
            </a:r>
          </a:p>
        </p:txBody>
      </p:sp>
      <p:sp>
        <p:nvSpPr>
          <p:cNvPr id="1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086795">
                    <a:lumMod val="75000"/>
                  </a:srgbClr>
                </a:solidFill>
              </a:rPr>
              <a:t> </a:t>
            </a:r>
            <a:endParaRPr lang="fi-FI" sz="700">
              <a:solidFill>
                <a:srgbClr val="086795">
                  <a:lumMod val="75000"/>
                </a:srgbClr>
              </a:solidFill>
            </a:endParaRPr>
          </a:p>
        </p:txBody>
      </p:sp>
      <p:sp>
        <p:nvSpPr>
          <p:cNvPr id="20" name="Parallelogram 19"/>
          <p:cNvSpPr/>
          <p:nvPr/>
        </p:nvSpPr>
        <p:spPr>
          <a:xfrm>
            <a:off x="5575" y="0"/>
            <a:ext cx="8262125" cy="6649796"/>
          </a:xfrm>
          <a:custGeom>
            <a:avLst/>
            <a:gdLst>
              <a:gd name="connsiteX0" fmla="*/ 0 w 9443225"/>
              <a:gd name="connsiteY0" fmla="*/ 6611696 h 6611696"/>
              <a:gd name="connsiteX1" fmla="*/ 1652924 w 9443225"/>
              <a:gd name="connsiteY1" fmla="*/ 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9443225"/>
              <a:gd name="connsiteY0" fmla="*/ 6611696 h 6611696"/>
              <a:gd name="connsiteX1" fmla="*/ 1183024 w 9443225"/>
              <a:gd name="connsiteY1" fmla="*/ 12700 h 6611696"/>
              <a:gd name="connsiteX2" fmla="*/ 9443225 w 9443225"/>
              <a:gd name="connsiteY2" fmla="*/ 0 h 6611696"/>
              <a:gd name="connsiteX3" fmla="*/ 7790301 w 9443225"/>
              <a:gd name="connsiteY3" fmla="*/ 6611696 h 6611696"/>
              <a:gd name="connsiteX4" fmla="*/ 0 w 9443225"/>
              <a:gd name="connsiteY4" fmla="*/ 6611696 h 66116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6609201 w 8262125"/>
              <a:gd name="connsiteY3" fmla="*/ 6611696 h 6649796"/>
              <a:gd name="connsiteX4" fmla="*/ 0 w 8262125"/>
              <a:gd name="connsiteY4" fmla="*/ 6649796 h 6649796"/>
              <a:gd name="connsiteX0" fmla="*/ 0 w 8262125"/>
              <a:gd name="connsiteY0" fmla="*/ 6649796 h 6649796"/>
              <a:gd name="connsiteX1" fmla="*/ 1924 w 8262125"/>
              <a:gd name="connsiteY1" fmla="*/ 12700 h 6649796"/>
              <a:gd name="connsiteX2" fmla="*/ 8262125 w 8262125"/>
              <a:gd name="connsiteY2" fmla="*/ 0 h 6649796"/>
              <a:gd name="connsiteX3" fmla="*/ 4462901 w 8262125"/>
              <a:gd name="connsiteY3" fmla="*/ 6586296 h 6649796"/>
              <a:gd name="connsiteX4" fmla="*/ 0 w 8262125"/>
              <a:gd name="connsiteY4" fmla="*/ 6649796 h 66497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62125" h="6649796">
                <a:moveTo>
                  <a:pt x="0" y="6649796"/>
                </a:moveTo>
                <a:cubicBezTo>
                  <a:pt x="641" y="4437431"/>
                  <a:pt x="1283" y="2225065"/>
                  <a:pt x="1924" y="12700"/>
                </a:cubicBezTo>
                <a:lnTo>
                  <a:pt x="8262125" y="0"/>
                </a:lnTo>
                <a:lnTo>
                  <a:pt x="4462901" y="6586296"/>
                </a:lnTo>
                <a:lnTo>
                  <a:pt x="0" y="6649796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4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25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53937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 with Headlin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DDC731-4F68-4BE1-9F35-8E31E9E47CDE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5599" y="1750422"/>
            <a:ext cx="10515985" cy="4851113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21402957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2">
    <p:bg>
      <p:bgPr>
        <a:solidFill>
          <a:srgbClr val="004A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/>
          <p:cNvGrpSpPr/>
          <p:nvPr/>
        </p:nvGrpSpPr>
        <p:grpSpPr bwMode="hidden">
          <a:xfrm>
            <a:off x="-22920" y="-37330"/>
            <a:ext cx="12230190" cy="6905889"/>
            <a:chOff x="-22920" y="-37330"/>
            <a:chExt cx="12230190" cy="6905889"/>
          </a:xfrm>
        </p:grpSpPr>
        <p:sp>
          <p:nvSpPr>
            <p:cNvPr id="36" name="Freeform 5"/>
            <p:cNvSpPr>
              <a:spLocks/>
            </p:cNvSpPr>
            <p:nvPr/>
          </p:nvSpPr>
          <p:spPr bwMode="hidden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37" name="Freeform 6"/>
            <p:cNvSpPr>
              <a:spLocks/>
            </p:cNvSpPr>
            <p:nvPr/>
          </p:nvSpPr>
          <p:spPr bwMode="hidden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hidden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39" name="Freeform 8"/>
            <p:cNvSpPr>
              <a:spLocks/>
            </p:cNvSpPr>
            <p:nvPr/>
          </p:nvSpPr>
          <p:spPr bwMode="hidden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40" name="Freeform 9"/>
            <p:cNvSpPr>
              <a:spLocks/>
            </p:cNvSpPr>
            <p:nvPr/>
          </p:nvSpPr>
          <p:spPr bwMode="hidden">
            <a:xfrm>
              <a:off x="-8900" y="1314450"/>
              <a:ext cx="12200937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  <a:gd name="connsiteX0" fmla="*/ 0 w 9965"/>
                <a:gd name="connsiteY0" fmla="*/ 10000 h 10000"/>
                <a:gd name="connsiteX1" fmla="*/ 1298 w 9965"/>
                <a:gd name="connsiteY1" fmla="*/ 10000 h 10000"/>
                <a:gd name="connsiteX2" fmla="*/ 1700 w 9965"/>
                <a:gd name="connsiteY2" fmla="*/ 0 h 10000"/>
                <a:gd name="connsiteX3" fmla="*/ 9965 w 9965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5" h="10000">
                  <a:moveTo>
                    <a:pt x="0" y="10000"/>
                  </a:moveTo>
                  <a:lnTo>
                    <a:pt x="1298" y="10000"/>
                  </a:lnTo>
                  <a:cubicBezTo>
                    <a:pt x="1433" y="6667"/>
                    <a:pt x="1566" y="3333"/>
                    <a:pt x="1700" y="0"/>
                  </a:cubicBezTo>
                  <a:lnTo>
                    <a:pt x="9965" y="0"/>
                  </a:lnTo>
                </a:path>
              </a:pathLst>
            </a:custGeom>
            <a:noFill/>
            <a:ln w="7938" cap="flat">
              <a:solidFill>
                <a:srgbClr val="0F334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34" name="Rectangle 33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9316" y="1325537"/>
            <a:ext cx="9274883" cy="2387600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9199" y="3806758"/>
            <a:ext cx="9274883" cy="1569266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E6E6E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  <a:br>
              <a:rPr lang="en-US"/>
            </a:br>
            <a:r>
              <a:rPr lang="en-US"/>
              <a:t>First name Last name, Title</a:t>
            </a:r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2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24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25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26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27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17" name="Rectangle 13"/>
          <p:cNvSpPr/>
          <p:nvPr/>
        </p:nvSpPr>
        <p:spPr bwMode="hidden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29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0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78902" y="226772"/>
            <a:ext cx="1528689" cy="36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76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 bwMode="hidden">
          <a:xfrm>
            <a:off x="-22920" y="-37330"/>
            <a:ext cx="12230190" cy="6905889"/>
            <a:chOff x="-22920" y="-37330"/>
            <a:chExt cx="12230190" cy="6905889"/>
          </a:xfrm>
        </p:grpSpPr>
        <p:sp>
          <p:nvSpPr>
            <p:cNvPr id="10" name="Freeform 5"/>
            <p:cNvSpPr>
              <a:spLocks/>
            </p:cNvSpPr>
            <p:nvPr/>
          </p:nvSpPr>
          <p:spPr bwMode="hidden">
            <a:xfrm>
              <a:off x="-22920" y="17566"/>
              <a:ext cx="11268574" cy="6028541"/>
            </a:xfrm>
            <a:custGeom>
              <a:avLst/>
              <a:gdLst>
                <a:gd name="T0" fmla="*/ 0 w 7948"/>
                <a:gd name="T1" fmla="*/ 4490 h 4490"/>
                <a:gd name="T2" fmla="*/ 1970 w 7948"/>
                <a:gd name="T3" fmla="*/ 4490 h 4490"/>
                <a:gd name="T4" fmla="*/ 2673 w 7948"/>
                <a:gd name="T5" fmla="*/ 3273 h 4490"/>
                <a:gd name="T6" fmla="*/ 6054 w 7948"/>
                <a:gd name="T7" fmla="*/ 3273 h 4490"/>
                <a:gd name="T8" fmla="*/ 7948 w 7948"/>
                <a:gd name="T9" fmla="*/ 0 h 449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617 w 10000"/>
                <a:gd name="connsiteY3" fmla="*/ 7290 h 10000"/>
                <a:gd name="connsiteX4" fmla="*/ 10000 w 10000"/>
                <a:gd name="connsiteY4" fmla="*/ 0 h 1000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10000"/>
                <a:gd name="connsiteY0" fmla="*/ 10000 h 10010"/>
                <a:gd name="connsiteX1" fmla="*/ 2479 w 10000"/>
                <a:gd name="connsiteY1" fmla="*/ 10000 h 10010"/>
                <a:gd name="connsiteX2" fmla="*/ 3089 w 10000"/>
                <a:gd name="connsiteY2" fmla="*/ 7803 h 10010"/>
                <a:gd name="connsiteX3" fmla="*/ 7823 w 10000"/>
                <a:gd name="connsiteY3" fmla="*/ 7803 h 10010"/>
                <a:gd name="connsiteX4" fmla="*/ 10000 w 10000"/>
                <a:gd name="connsiteY4" fmla="*/ 0 h 10010"/>
                <a:gd name="connsiteX0" fmla="*/ 0 w 10000"/>
                <a:gd name="connsiteY0" fmla="*/ 10000 h 10000"/>
                <a:gd name="connsiteX1" fmla="*/ 2479 w 10000"/>
                <a:gd name="connsiteY1" fmla="*/ 10000 h 10000"/>
                <a:gd name="connsiteX2" fmla="*/ 3089 w 10000"/>
                <a:gd name="connsiteY2" fmla="*/ 7803 h 10000"/>
                <a:gd name="connsiteX3" fmla="*/ 7823 w 10000"/>
                <a:gd name="connsiteY3" fmla="*/ 7803 h 10000"/>
                <a:gd name="connsiteX4" fmla="*/ 10000 w 10000"/>
                <a:gd name="connsiteY4" fmla="*/ 0 h 10000"/>
                <a:gd name="connsiteX0" fmla="*/ 0 w 8926"/>
                <a:gd name="connsiteY0" fmla="*/ 10000 h 10000"/>
                <a:gd name="connsiteX1" fmla="*/ 1405 w 8926"/>
                <a:gd name="connsiteY1" fmla="*/ 10000 h 10000"/>
                <a:gd name="connsiteX2" fmla="*/ 2015 w 8926"/>
                <a:gd name="connsiteY2" fmla="*/ 7803 h 10000"/>
                <a:gd name="connsiteX3" fmla="*/ 6749 w 8926"/>
                <a:gd name="connsiteY3" fmla="*/ 7803 h 10000"/>
                <a:gd name="connsiteX4" fmla="*/ 8926 w 8926"/>
                <a:gd name="connsiteY4" fmla="*/ 0 h 10000"/>
                <a:gd name="connsiteX0" fmla="*/ 0 w 9501"/>
                <a:gd name="connsiteY0" fmla="*/ 8345 h 8345"/>
                <a:gd name="connsiteX1" fmla="*/ 1574 w 9501"/>
                <a:gd name="connsiteY1" fmla="*/ 8345 h 8345"/>
                <a:gd name="connsiteX2" fmla="*/ 2257 w 9501"/>
                <a:gd name="connsiteY2" fmla="*/ 6148 h 8345"/>
                <a:gd name="connsiteX3" fmla="*/ 7561 w 9501"/>
                <a:gd name="connsiteY3" fmla="*/ 6148 h 8345"/>
                <a:gd name="connsiteX4" fmla="*/ 9501 w 9501"/>
                <a:gd name="connsiteY4" fmla="*/ 0 h 8345"/>
                <a:gd name="connsiteX0" fmla="*/ 0 w 10456"/>
                <a:gd name="connsiteY0" fmla="*/ 11602 h 11602"/>
                <a:gd name="connsiteX1" fmla="*/ 1657 w 10456"/>
                <a:gd name="connsiteY1" fmla="*/ 11602 h 11602"/>
                <a:gd name="connsiteX2" fmla="*/ 2376 w 10456"/>
                <a:gd name="connsiteY2" fmla="*/ 8969 h 11602"/>
                <a:gd name="connsiteX3" fmla="*/ 7958 w 10456"/>
                <a:gd name="connsiteY3" fmla="*/ 8969 h 11602"/>
                <a:gd name="connsiteX4" fmla="*/ 10456 w 10456"/>
                <a:gd name="connsiteY4" fmla="*/ 0 h 11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56" h="11602">
                  <a:moveTo>
                    <a:pt x="0" y="11602"/>
                  </a:moveTo>
                  <a:lnTo>
                    <a:pt x="1657" y="11602"/>
                  </a:lnTo>
                  <a:lnTo>
                    <a:pt x="2376" y="8969"/>
                  </a:lnTo>
                  <a:lnTo>
                    <a:pt x="7958" y="8969"/>
                  </a:lnTo>
                  <a:lnTo>
                    <a:pt x="10456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hidden">
            <a:xfrm>
              <a:off x="2942676" y="-37330"/>
              <a:ext cx="4635495" cy="2199505"/>
            </a:xfrm>
            <a:custGeom>
              <a:avLst/>
              <a:gdLst>
                <a:gd name="T0" fmla="*/ 3487 w 3487"/>
                <a:gd name="T1" fmla="*/ 0 h 1861"/>
                <a:gd name="T2" fmla="*/ 2411 w 3487"/>
                <a:gd name="T3" fmla="*/ 1861 h 1861"/>
                <a:gd name="T4" fmla="*/ 1071 w 3487"/>
                <a:gd name="T5" fmla="*/ 1861 h 1861"/>
                <a:gd name="T6" fmla="*/ 0 w 3487"/>
                <a:gd name="T7" fmla="*/ 0 h 1861"/>
                <a:gd name="connsiteX0" fmla="*/ 9187 w 9187"/>
                <a:gd name="connsiteY0" fmla="*/ 2555 h 10000"/>
                <a:gd name="connsiteX1" fmla="*/ 6914 w 9187"/>
                <a:gd name="connsiteY1" fmla="*/ 10000 h 10000"/>
                <a:gd name="connsiteX2" fmla="*/ 3071 w 9187"/>
                <a:gd name="connsiteY2" fmla="*/ 10000 h 10000"/>
                <a:gd name="connsiteX3" fmla="*/ 0 w 9187"/>
                <a:gd name="connsiteY3" fmla="*/ 0 h 10000"/>
                <a:gd name="connsiteX0" fmla="*/ 9115 w 9115"/>
                <a:gd name="connsiteY0" fmla="*/ 0 h 7445"/>
                <a:gd name="connsiteX1" fmla="*/ 6641 w 9115"/>
                <a:gd name="connsiteY1" fmla="*/ 7445 h 7445"/>
                <a:gd name="connsiteX2" fmla="*/ 2458 w 9115"/>
                <a:gd name="connsiteY2" fmla="*/ 7445 h 7445"/>
                <a:gd name="connsiteX3" fmla="*/ 0 w 9115"/>
                <a:gd name="connsiteY3" fmla="*/ 0 h 7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15" h="7445">
                  <a:moveTo>
                    <a:pt x="9115" y="0"/>
                  </a:moveTo>
                  <a:lnTo>
                    <a:pt x="6641" y="7445"/>
                  </a:lnTo>
                  <a:lnTo>
                    <a:pt x="2458" y="7445"/>
                  </a:lnTo>
                  <a:lnTo>
                    <a:pt x="0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hidden">
            <a:xfrm>
              <a:off x="9634101" y="5445579"/>
              <a:ext cx="2573169" cy="1422980"/>
            </a:xfrm>
            <a:custGeom>
              <a:avLst/>
              <a:gdLst>
                <a:gd name="T0" fmla="*/ 2179 w 2179"/>
                <a:gd name="T1" fmla="*/ 0 h 1661"/>
                <a:gd name="T2" fmla="*/ 961 w 2179"/>
                <a:gd name="T3" fmla="*/ 0 h 1661"/>
                <a:gd name="T4" fmla="*/ 0 w 2179"/>
                <a:gd name="T5" fmla="*/ 1661 h 1661"/>
                <a:gd name="connsiteX0" fmla="*/ 8070 w 8070"/>
                <a:gd name="connsiteY0" fmla="*/ 0 h 5707"/>
                <a:gd name="connsiteX1" fmla="*/ 2480 w 8070"/>
                <a:gd name="connsiteY1" fmla="*/ 0 h 5707"/>
                <a:gd name="connsiteX2" fmla="*/ 0 w 8070"/>
                <a:gd name="connsiteY2" fmla="*/ 5707 h 5707"/>
                <a:gd name="connsiteX0" fmla="*/ 9804 w 9804"/>
                <a:gd name="connsiteY0" fmla="*/ 0 h 9456"/>
                <a:gd name="connsiteX1" fmla="*/ 2877 w 9804"/>
                <a:gd name="connsiteY1" fmla="*/ 0 h 9456"/>
                <a:gd name="connsiteX2" fmla="*/ 0 w 9804"/>
                <a:gd name="connsiteY2" fmla="*/ 9456 h 9456"/>
                <a:gd name="connsiteX0" fmla="*/ 9402 w 9402"/>
                <a:gd name="connsiteY0" fmla="*/ 96 h 10000"/>
                <a:gd name="connsiteX1" fmla="*/ 2935 w 9402"/>
                <a:gd name="connsiteY1" fmla="*/ 0 h 10000"/>
                <a:gd name="connsiteX2" fmla="*/ 0 w 9402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402" h="10000">
                  <a:moveTo>
                    <a:pt x="9402" y="96"/>
                  </a:moveTo>
                  <a:lnTo>
                    <a:pt x="2935" y="0"/>
                  </a:lnTo>
                  <a:cubicBezTo>
                    <a:pt x="1077" y="6176"/>
                    <a:pt x="1858" y="3824"/>
                    <a:pt x="0" y="10000"/>
                  </a:cubicBez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hidden">
            <a:xfrm>
              <a:off x="-10456" y="5376024"/>
              <a:ext cx="4234109" cy="1477214"/>
            </a:xfrm>
            <a:custGeom>
              <a:avLst/>
              <a:gdLst>
                <a:gd name="T0" fmla="*/ 0 w 4854"/>
                <a:gd name="T1" fmla="*/ 0 h 1444"/>
                <a:gd name="T2" fmla="*/ 4019 w 4854"/>
                <a:gd name="T3" fmla="*/ 0 h 1444"/>
                <a:gd name="T4" fmla="*/ 4854 w 4854"/>
                <a:gd name="T5" fmla="*/ 1444 h 1444"/>
                <a:gd name="connsiteX0" fmla="*/ 0 w 6139"/>
                <a:gd name="connsiteY0" fmla="*/ 0 h 10063"/>
                <a:gd name="connsiteX1" fmla="*/ 4419 w 6139"/>
                <a:gd name="connsiteY1" fmla="*/ 63 h 10063"/>
                <a:gd name="connsiteX2" fmla="*/ 6139 w 6139"/>
                <a:gd name="connsiteY2" fmla="*/ 10063 h 10063"/>
                <a:gd name="connsiteX0" fmla="*/ 0 w 9110"/>
                <a:gd name="connsiteY0" fmla="*/ 0 h 6917"/>
                <a:gd name="connsiteX1" fmla="*/ 7198 w 9110"/>
                <a:gd name="connsiteY1" fmla="*/ 63 h 6917"/>
                <a:gd name="connsiteX2" fmla="*/ 9110 w 9110"/>
                <a:gd name="connsiteY2" fmla="*/ 6917 h 6917"/>
                <a:gd name="connsiteX0" fmla="*/ 0 w 9825"/>
                <a:gd name="connsiteY0" fmla="*/ 0 h 9258"/>
                <a:gd name="connsiteX1" fmla="*/ 7901 w 9825"/>
                <a:gd name="connsiteY1" fmla="*/ 91 h 9258"/>
                <a:gd name="connsiteX2" fmla="*/ 9825 w 9825"/>
                <a:gd name="connsiteY2" fmla="*/ 9258 h 9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825" h="9258">
                  <a:moveTo>
                    <a:pt x="0" y="0"/>
                  </a:moveTo>
                  <a:lnTo>
                    <a:pt x="7901" y="91"/>
                  </a:lnTo>
                  <a:cubicBezTo>
                    <a:pt x="8601" y="3394"/>
                    <a:pt x="9125" y="5955"/>
                    <a:pt x="9825" y="9258"/>
                  </a:cubicBez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hidden">
            <a:xfrm>
              <a:off x="-8900" y="1314450"/>
              <a:ext cx="12200937" cy="847725"/>
            </a:xfrm>
            <a:custGeom>
              <a:avLst/>
              <a:gdLst>
                <a:gd name="T0" fmla="*/ 0 w 8082"/>
                <a:gd name="T1" fmla="*/ 534 h 534"/>
                <a:gd name="T2" fmla="*/ 1139 w 8082"/>
                <a:gd name="T3" fmla="*/ 534 h 534"/>
                <a:gd name="T4" fmla="*/ 1448 w 8082"/>
                <a:gd name="T5" fmla="*/ 0 h 534"/>
                <a:gd name="T6" fmla="*/ 8082 w 8082"/>
                <a:gd name="T7" fmla="*/ 0 h 534"/>
                <a:gd name="connsiteX0" fmla="*/ 0 w 9830"/>
                <a:gd name="connsiteY0" fmla="*/ 10000 h 10000"/>
                <a:gd name="connsiteX1" fmla="*/ 1239 w 9830"/>
                <a:gd name="connsiteY1" fmla="*/ 10000 h 10000"/>
                <a:gd name="connsiteX2" fmla="*/ 1622 w 9830"/>
                <a:gd name="connsiteY2" fmla="*/ 0 h 10000"/>
                <a:gd name="connsiteX3" fmla="*/ 9830 w 9830"/>
                <a:gd name="connsiteY3" fmla="*/ 0 h 10000"/>
                <a:gd name="connsiteX0" fmla="*/ 0 w 9708"/>
                <a:gd name="connsiteY0" fmla="*/ 10000 h 10000"/>
                <a:gd name="connsiteX1" fmla="*/ 1260 w 9708"/>
                <a:gd name="connsiteY1" fmla="*/ 10000 h 10000"/>
                <a:gd name="connsiteX2" fmla="*/ 1650 w 9708"/>
                <a:gd name="connsiteY2" fmla="*/ 0 h 10000"/>
                <a:gd name="connsiteX3" fmla="*/ 9708 w 9708"/>
                <a:gd name="connsiteY3" fmla="*/ 0 h 10000"/>
                <a:gd name="connsiteX0" fmla="*/ 0 w 9965"/>
                <a:gd name="connsiteY0" fmla="*/ 10000 h 10000"/>
                <a:gd name="connsiteX1" fmla="*/ 1298 w 9965"/>
                <a:gd name="connsiteY1" fmla="*/ 10000 h 10000"/>
                <a:gd name="connsiteX2" fmla="*/ 1700 w 9965"/>
                <a:gd name="connsiteY2" fmla="*/ 0 h 10000"/>
                <a:gd name="connsiteX3" fmla="*/ 9965 w 9965"/>
                <a:gd name="connsiteY3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5" h="10000">
                  <a:moveTo>
                    <a:pt x="0" y="10000"/>
                  </a:moveTo>
                  <a:lnTo>
                    <a:pt x="1298" y="10000"/>
                  </a:lnTo>
                  <a:cubicBezTo>
                    <a:pt x="1433" y="6667"/>
                    <a:pt x="1566" y="3333"/>
                    <a:pt x="1700" y="0"/>
                  </a:cubicBezTo>
                  <a:lnTo>
                    <a:pt x="9965" y="0"/>
                  </a:lnTo>
                </a:path>
              </a:pathLst>
            </a:custGeom>
            <a:noFill/>
            <a:ln w="7938" cap="flat">
              <a:solidFill>
                <a:srgbClr val="B3B3B3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>
                <a:solidFill>
                  <a:prstClr val="black"/>
                </a:solidFill>
              </a:endParaRPr>
            </a:p>
          </p:txBody>
        </p:sp>
      </p:grpSp>
      <p:sp>
        <p:nvSpPr>
          <p:cNvPr id="28" name="Rectangle 27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69317" y="1325537"/>
            <a:ext cx="9288000" cy="2387600"/>
          </a:xfrm>
        </p:spPr>
        <p:txBody>
          <a:bodyPr anchor="b">
            <a:normAutofit/>
          </a:bodyPr>
          <a:lstStyle>
            <a:lvl1pPr algn="l">
              <a:defRPr sz="4200">
                <a:solidFill>
                  <a:srgbClr val="0F334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69200" y="3806758"/>
            <a:ext cx="9288000" cy="1569266"/>
          </a:xfrm>
        </p:spPr>
        <p:txBody>
          <a:bodyPr>
            <a:normAutofit/>
          </a:bodyPr>
          <a:lstStyle>
            <a:lvl1pPr marL="0" indent="0" algn="l">
              <a:buNone/>
              <a:defRPr sz="2000" b="1">
                <a:solidFill>
                  <a:srgbClr val="0F334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  <a:br>
              <a:rPr lang="en-US" dirty="0"/>
            </a:br>
            <a:r>
              <a:rPr lang="en-US" dirty="0"/>
              <a:t>First name Last name, Title</a:t>
            </a:r>
            <a:endParaRPr lang="fi-FI" dirty="0"/>
          </a:p>
        </p:txBody>
      </p:sp>
      <p:sp>
        <p:nvSpPr>
          <p:cNvPr id="17" name="Rectangle 13"/>
          <p:cNvSpPr/>
          <p:nvPr/>
        </p:nvSpPr>
        <p:spPr bwMode="white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19" name="Date Placeholder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ECF1441E-1C4D-4909-80C6-FDD3019D95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21" name="Slide Number Placeholder 2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2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24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25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26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27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29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30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31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78902" y="226772"/>
            <a:ext cx="1528689" cy="36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89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5599" y="1750422"/>
            <a:ext cx="10515985" cy="4851113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4274192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with Headlin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5599" y="1750422"/>
            <a:ext cx="10515985" cy="4851113"/>
          </a:xfrm>
        </p:spPr>
        <p:txBody>
          <a:bodyPr/>
          <a:lstStyle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 hasCustomPrompt="1"/>
          </p:nvPr>
        </p:nvSpPr>
        <p:spPr bwMode="ltGray">
          <a:xfrm>
            <a:off x="-3600" y="-3600"/>
            <a:ext cx="2787357" cy="412009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wrap="none" lIns="288000" tIns="108000" rIns="288000" bIns="108000" anchor="ctr">
            <a:spAutoFit/>
          </a:bodyPr>
          <a:lstStyle>
            <a:lvl1pPr marL="0" indent="0">
              <a:buNone/>
              <a:defRPr sz="1400" b="1" cap="all" baseline="0">
                <a:solidFill>
                  <a:schemeClr val="bg1"/>
                </a:solidFill>
              </a:defRPr>
            </a:lvl1pPr>
            <a:lvl2pPr marL="457200" indent="0">
              <a:buNone/>
              <a:defRPr sz="1400" b="1" cap="all" baseline="0">
                <a:solidFill>
                  <a:schemeClr val="bg1"/>
                </a:solidFill>
              </a:defRPr>
            </a:lvl2pPr>
            <a:lvl3pPr marL="914400" indent="0">
              <a:buNone/>
              <a:defRPr sz="1400" b="1" cap="all" baseline="0">
                <a:solidFill>
                  <a:schemeClr val="bg1"/>
                </a:solidFill>
              </a:defRPr>
            </a:lvl3pPr>
            <a:lvl4pPr marL="1371600" indent="0">
              <a:buNone/>
              <a:defRPr sz="1400" b="1" cap="all" baseline="0">
                <a:solidFill>
                  <a:schemeClr val="bg1"/>
                </a:solidFill>
              </a:defRPr>
            </a:lvl4pPr>
            <a:lvl5pPr marL="1828800" indent="0">
              <a:buNone/>
              <a:defRPr sz="1400"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SECTION HEADLINE</a:t>
            </a:r>
          </a:p>
        </p:txBody>
      </p:sp>
    </p:spTree>
    <p:extLst>
      <p:ext uri="{BB962C8B-B14F-4D97-AF65-F5344CB8AC3E}">
        <p14:creationId xmlns:p14="http://schemas.microsoft.com/office/powerpoint/2010/main" val="2955719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9" Type="http://schemas.openxmlformats.org/officeDocument/2006/relationships/slideLayout" Target="../slideLayouts/slideLayout82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34" Type="http://schemas.openxmlformats.org/officeDocument/2006/relationships/slideLayout" Target="../slideLayouts/slideLayout77.xml"/><Relationship Id="rId42" Type="http://schemas.openxmlformats.org/officeDocument/2006/relationships/slideLayout" Target="../slideLayouts/slideLayout85.xml"/><Relationship Id="rId47" Type="http://schemas.openxmlformats.org/officeDocument/2006/relationships/slideLayout" Target="../slideLayouts/slideLayout90.xml"/><Relationship Id="rId50" Type="http://schemas.openxmlformats.org/officeDocument/2006/relationships/slideLayout" Target="../slideLayouts/slideLayout93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33" Type="http://schemas.openxmlformats.org/officeDocument/2006/relationships/slideLayout" Target="../slideLayouts/slideLayout76.xml"/><Relationship Id="rId38" Type="http://schemas.openxmlformats.org/officeDocument/2006/relationships/slideLayout" Target="../slideLayouts/slideLayout81.xml"/><Relationship Id="rId46" Type="http://schemas.openxmlformats.org/officeDocument/2006/relationships/slideLayout" Target="../slideLayouts/slideLayout89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2.xml"/><Relationship Id="rId41" Type="http://schemas.openxmlformats.org/officeDocument/2006/relationships/slideLayout" Target="../slideLayouts/slideLayout84.xml"/><Relationship Id="rId54" Type="http://schemas.openxmlformats.org/officeDocument/2006/relationships/image" Target="../media/image12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slideLayout" Target="../slideLayouts/slideLayout75.xml"/><Relationship Id="rId37" Type="http://schemas.openxmlformats.org/officeDocument/2006/relationships/slideLayout" Target="../slideLayouts/slideLayout80.xml"/><Relationship Id="rId40" Type="http://schemas.openxmlformats.org/officeDocument/2006/relationships/slideLayout" Target="../slideLayouts/slideLayout83.xml"/><Relationship Id="rId45" Type="http://schemas.openxmlformats.org/officeDocument/2006/relationships/slideLayout" Target="../slideLayouts/slideLayout88.xml"/><Relationship Id="rId53" Type="http://schemas.openxmlformats.org/officeDocument/2006/relationships/theme" Target="../theme/theme3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36" Type="http://schemas.openxmlformats.org/officeDocument/2006/relationships/slideLayout" Target="../slideLayouts/slideLayout79.xml"/><Relationship Id="rId49" Type="http://schemas.openxmlformats.org/officeDocument/2006/relationships/slideLayout" Target="../slideLayouts/slideLayout92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slideLayout" Target="../slideLayouts/slideLayout74.xml"/><Relationship Id="rId44" Type="http://schemas.openxmlformats.org/officeDocument/2006/relationships/slideLayout" Target="../slideLayouts/slideLayout87.xml"/><Relationship Id="rId52" Type="http://schemas.openxmlformats.org/officeDocument/2006/relationships/slideLayout" Target="../slideLayouts/slideLayout95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slideLayout" Target="../slideLayouts/slideLayout73.xml"/><Relationship Id="rId35" Type="http://schemas.openxmlformats.org/officeDocument/2006/relationships/slideLayout" Target="../slideLayouts/slideLayout78.xml"/><Relationship Id="rId43" Type="http://schemas.openxmlformats.org/officeDocument/2006/relationships/slideLayout" Target="../slideLayouts/slideLayout86.xml"/><Relationship Id="rId48" Type="http://schemas.openxmlformats.org/officeDocument/2006/relationships/slideLayout" Target="../slideLayouts/slideLayout91.xml"/><Relationship Id="rId8" Type="http://schemas.openxmlformats.org/officeDocument/2006/relationships/slideLayout" Target="../slideLayouts/slideLayout51.xml"/><Relationship Id="rId51" Type="http://schemas.openxmlformats.org/officeDocument/2006/relationships/slideLayout" Target="../slideLayouts/slideLayout9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26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29" Type="http://schemas.openxmlformats.org/officeDocument/2006/relationships/image" Target="../media/image7.png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slideLayout" Target="../slideLayouts/slideLayout118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117.xml"/><Relationship Id="rId27" Type="http://schemas.openxmlformats.org/officeDocument/2006/relationships/slideLayout" Target="../slideLayouts/slideLayout1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5775" y="6642096"/>
            <a:ext cx="414319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chemeClr val="accent4"/>
                </a:solidFill>
              </a:rPr>
              <a:t>© Wärtsilä</a:t>
            </a:r>
          </a:p>
        </p:txBody>
      </p:sp>
      <p:sp>
        <p:nvSpPr>
          <p:cNvPr id="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b="0" cap="all" spc="100" smtClean="0">
                <a:solidFill>
                  <a:schemeClr val="accent4"/>
                </a:solidFill>
              </a:rPr>
              <a:t>Public</a:t>
            </a:r>
            <a:endParaRPr lang="fi-FI" sz="900" b="0" cap="all" spc="100" dirty="0">
              <a:solidFill>
                <a:schemeClr val="accent4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00423" y="6642101"/>
            <a:ext cx="1002946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/>
              <a:t>2.8.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62460" y="6640724"/>
            <a:ext cx="2619378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r>
              <a:rPr lang="en-US"/>
              <a:t>[Presentation name / Author]</a:t>
            </a:r>
          </a:p>
        </p:txBody>
      </p:sp>
      <p:sp>
        <p:nvSpPr>
          <p:cNvPr id="11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700" b="0" i="0" u="none" strike="noStrike" cap="none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latin typeface="Arial" charset="0"/>
              </a:rPr>
              <a:t>Document ID </a:t>
            </a:r>
          </a:p>
        </p:txBody>
      </p:sp>
      <p:sp>
        <p:nvSpPr>
          <p:cNvPr id="10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i-FI" sz="700" b="0" i="0" u="none" strike="noStrike" cap="none" normalizeH="0" baseline="0" smtClean="0">
                <a:ln>
                  <a:noFill/>
                </a:ln>
                <a:solidFill>
                  <a:schemeClr val="accent4"/>
                </a:solidFill>
                <a:effectLst/>
                <a:latin typeface="Arial" charset="0"/>
              </a:rPr>
              <a:t> </a:t>
            </a:r>
            <a:endParaRPr kumimoji="0" lang="fi-FI" sz="700" b="0" i="0" u="none" strike="noStrike" cap="none" normalizeH="0" baseline="0" dirty="0">
              <a:ln>
                <a:noFill/>
              </a:ln>
              <a:solidFill>
                <a:schemeClr val="accent4"/>
              </a:solidFill>
              <a:effectLst/>
              <a:latin typeface="Arial" charset="0"/>
            </a:endParaRPr>
          </a:p>
        </p:txBody>
      </p:sp>
      <p:sp>
        <p:nvSpPr>
          <p:cNvPr id="12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700" b="0" i="0" u="none" strike="noStrike" cap="none" normalizeH="0" baseline="0" noProof="0" dirty="0">
                <a:ln>
                  <a:noFill/>
                </a:ln>
                <a:solidFill>
                  <a:srgbClr val="999999"/>
                </a:solidFill>
                <a:effectLst/>
                <a:latin typeface="Arial" charset="0"/>
              </a:rPr>
              <a:t>Revision</a:t>
            </a:r>
          </a:p>
        </p:txBody>
      </p:sp>
      <p:sp>
        <p:nvSpPr>
          <p:cNvPr id="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i-FI" sz="700" b="0" i="0" u="none" strike="noStrike" cap="none" normalizeH="0" baseline="0" smtClean="0">
                <a:ln>
                  <a:noFill/>
                </a:ln>
                <a:solidFill>
                  <a:schemeClr val="accent4"/>
                </a:solidFill>
                <a:effectLst/>
                <a:latin typeface="Arial" charset="0"/>
              </a:rPr>
              <a:t> </a:t>
            </a:r>
            <a:endParaRPr kumimoji="0" lang="fi-FI" sz="700" b="0" i="0" u="none" strike="noStrike" cap="none" normalizeH="0" baseline="0">
              <a:ln>
                <a:noFill/>
              </a:ln>
              <a:solidFill>
                <a:schemeClr val="accent4"/>
              </a:solidFill>
              <a:effectLst/>
              <a:latin typeface="Arial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5985" y="898559"/>
            <a:ext cx="10515600" cy="7890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599" y="1751288"/>
            <a:ext cx="10515985" cy="458471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baseline="0" dirty="0">
                <a:ln>
                  <a:noFill/>
                </a:ln>
                <a:solidFill>
                  <a:srgbClr val="FF0000"/>
                </a:solidFill>
                <a:effectLst/>
              </a:rPr>
              <a:t>SECRET</a:t>
            </a:r>
          </a:p>
        </p:txBody>
      </p:sp>
      <p:sp>
        <p:nvSpPr>
          <p:cNvPr id="18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93868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9" r:id="rId1"/>
    <p:sldLayoutId id="2147484260" r:id="rId2"/>
    <p:sldLayoutId id="2147484269" r:id="rId3"/>
    <p:sldLayoutId id="2147484240" r:id="rId4"/>
    <p:sldLayoutId id="2147484270" r:id="rId5"/>
    <p:sldLayoutId id="2147484242" r:id="rId6"/>
    <p:sldLayoutId id="2147484245" r:id="rId7"/>
    <p:sldLayoutId id="2147484265" r:id="rId8"/>
    <p:sldLayoutId id="2147484267" r:id="rId9"/>
    <p:sldLayoutId id="2147484279" r:id="rId10"/>
    <p:sldLayoutId id="2147484280" r:id="rId11"/>
    <p:sldLayoutId id="2147484282" r:id="rId12"/>
    <p:sldLayoutId id="2147484342" r:id="rId13"/>
    <p:sldLayoutId id="2147484441" r:id="rId14"/>
    <p:sldLayoutId id="2147484443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tabLst/>
        <a:defRPr sz="2000" kern="1200">
          <a:solidFill>
            <a:srgbClr val="4D4D4D"/>
          </a:solidFill>
          <a:latin typeface="+mn-lt"/>
          <a:ea typeface="+mn-ea"/>
          <a:cs typeface="+mn-cs"/>
        </a:defRPr>
      </a:lvl1pPr>
      <a:lvl2pPr marL="582613" indent="-246063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Helvetica" charset="0"/>
        <a:buChar char="−"/>
        <a:tabLst/>
        <a:defRPr sz="1800" kern="1200">
          <a:solidFill>
            <a:srgbClr val="4D4D4D"/>
          </a:solidFill>
          <a:latin typeface="+mn-lt"/>
          <a:ea typeface="+mn-ea"/>
          <a:cs typeface="+mn-cs"/>
        </a:defRPr>
      </a:lvl2pPr>
      <a:lvl3pPr marL="866775" indent="-180975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charset="2"/>
        <a:buChar char="§"/>
        <a:tabLst/>
        <a:defRPr sz="1600" kern="1200">
          <a:solidFill>
            <a:srgbClr val="4D4D4D"/>
          </a:solidFill>
          <a:latin typeface="+mn-lt"/>
          <a:ea typeface="+mn-ea"/>
          <a:cs typeface="+mn-cs"/>
        </a:defRPr>
      </a:lvl3pPr>
      <a:lvl4pPr marL="1152525" indent="-168275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Courier New" charset="0"/>
        <a:buChar char="o"/>
        <a:tabLst/>
        <a:defRPr sz="1400" kern="1200">
          <a:solidFill>
            <a:srgbClr val="4D4D4D"/>
          </a:solidFill>
          <a:latin typeface="+mn-lt"/>
          <a:ea typeface="+mn-ea"/>
          <a:cs typeface="+mn-cs"/>
        </a:defRPr>
      </a:lvl4pPr>
      <a:lvl5pPr marL="1188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5pPr>
      <a:lvl6pPr marL="1440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6pPr>
      <a:lvl7pPr marL="1692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7pPr>
      <a:lvl8pPr marL="1872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8pPr>
      <a:lvl9pPr marL="2088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69">
          <p15:clr>
            <a:srgbClr val="F26B43"/>
          </p15:clr>
        </p15:guide>
        <p15:guide id="2" pos="6758">
          <p15:clr>
            <a:srgbClr val="F26B43"/>
          </p15:clr>
        </p15:guide>
        <p15:guide id="3" pos="507">
          <p15:clr>
            <a:srgbClr val="F26B43"/>
          </p15:clr>
        </p15:guide>
        <p15:guide id="4" pos="984">
          <p15:clr>
            <a:srgbClr val="F26B43"/>
          </p15:clr>
        </p15:guide>
        <p15:guide id="5" pos="70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5775" y="6642096"/>
            <a:ext cx="414319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3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00423" y="6642101"/>
            <a:ext cx="1002946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62460" y="6640724"/>
            <a:ext cx="2619378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11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0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2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5985" y="898559"/>
            <a:ext cx="10515600" cy="7890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599" y="1751288"/>
            <a:ext cx="10515985" cy="458471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18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10578902" y="226772"/>
            <a:ext cx="1528689" cy="36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411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4" r:id="rId1"/>
    <p:sldLayoutId id="2147484285" r:id="rId2"/>
    <p:sldLayoutId id="2147484286" r:id="rId3"/>
    <p:sldLayoutId id="2147484287" r:id="rId4"/>
    <p:sldLayoutId id="2147484288" r:id="rId5"/>
    <p:sldLayoutId id="2147484289" r:id="rId6"/>
    <p:sldLayoutId id="2147484290" r:id="rId7"/>
    <p:sldLayoutId id="2147484291" r:id="rId8"/>
    <p:sldLayoutId id="2147484292" r:id="rId9"/>
    <p:sldLayoutId id="2147484293" r:id="rId10"/>
    <p:sldLayoutId id="2147484294" r:id="rId11"/>
    <p:sldLayoutId id="2147484295" r:id="rId12"/>
    <p:sldLayoutId id="2147484296" r:id="rId13"/>
    <p:sldLayoutId id="2147484297" r:id="rId14"/>
    <p:sldLayoutId id="2147484298" r:id="rId15"/>
    <p:sldLayoutId id="2147484299" r:id="rId16"/>
    <p:sldLayoutId id="2147484300" r:id="rId17"/>
    <p:sldLayoutId id="2147484301" r:id="rId18"/>
    <p:sldLayoutId id="2147484302" r:id="rId19"/>
    <p:sldLayoutId id="2147484303" r:id="rId20"/>
    <p:sldLayoutId id="2147484304" r:id="rId21"/>
    <p:sldLayoutId id="2147484305" r:id="rId22"/>
    <p:sldLayoutId id="2147484306" r:id="rId23"/>
    <p:sldLayoutId id="2147484307" r:id="rId24"/>
    <p:sldLayoutId id="2147484308" r:id="rId25"/>
    <p:sldLayoutId id="2147484309" r:id="rId26"/>
    <p:sldLayoutId id="2147484310" r:id="rId27"/>
    <p:sldLayoutId id="2147484442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tabLst/>
        <a:defRPr sz="2000" kern="1200">
          <a:solidFill>
            <a:srgbClr val="4D4D4D"/>
          </a:solidFill>
          <a:latin typeface="+mn-lt"/>
          <a:ea typeface="+mn-ea"/>
          <a:cs typeface="+mn-cs"/>
        </a:defRPr>
      </a:lvl1pPr>
      <a:lvl2pPr marL="582613" indent="-246063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Helvetica" charset="0"/>
        <a:buChar char="−"/>
        <a:tabLst/>
        <a:defRPr sz="1800" kern="1200">
          <a:solidFill>
            <a:srgbClr val="4D4D4D"/>
          </a:solidFill>
          <a:latin typeface="+mn-lt"/>
          <a:ea typeface="+mn-ea"/>
          <a:cs typeface="+mn-cs"/>
        </a:defRPr>
      </a:lvl2pPr>
      <a:lvl3pPr marL="866775" indent="-180975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charset="2"/>
        <a:buChar char="§"/>
        <a:tabLst/>
        <a:defRPr sz="1600" kern="1200">
          <a:solidFill>
            <a:srgbClr val="4D4D4D"/>
          </a:solidFill>
          <a:latin typeface="+mn-lt"/>
          <a:ea typeface="+mn-ea"/>
          <a:cs typeface="+mn-cs"/>
        </a:defRPr>
      </a:lvl3pPr>
      <a:lvl4pPr marL="1152525" indent="-168275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Courier New" charset="0"/>
        <a:buChar char="o"/>
        <a:tabLst/>
        <a:defRPr sz="1400" kern="1200">
          <a:solidFill>
            <a:srgbClr val="4D4D4D"/>
          </a:solidFill>
          <a:latin typeface="+mn-lt"/>
          <a:ea typeface="+mn-ea"/>
          <a:cs typeface="+mn-cs"/>
        </a:defRPr>
      </a:lvl4pPr>
      <a:lvl5pPr marL="1188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5pPr>
      <a:lvl6pPr marL="1440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6pPr>
      <a:lvl7pPr marL="1692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7pPr>
      <a:lvl8pPr marL="1872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8pPr>
      <a:lvl9pPr marL="2088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69">
          <p15:clr>
            <a:srgbClr val="F26B43"/>
          </p15:clr>
        </p15:guide>
        <p15:guide id="2" pos="6758">
          <p15:clr>
            <a:srgbClr val="F26B43"/>
          </p15:clr>
        </p15:guide>
        <p15:guide id="3" pos="507">
          <p15:clr>
            <a:srgbClr val="F26B43"/>
          </p15:clr>
        </p15:guide>
        <p15:guide id="4" pos="984">
          <p15:clr>
            <a:srgbClr val="F26B43"/>
          </p15:clr>
        </p15:guide>
        <p15:guide id="5" pos="70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5985" y="990000"/>
            <a:ext cx="10515600" cy="7890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599" y="2124000"/>
            <a:ext cx="10515985" cy="4212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6</a:t>
            </a:r>
          </a:p>
          <a:p>
            <a:pPr lvl="6"/>
            <a:r>
              <a:rPr lang="en-US" dirty="0"/>
              <a:t>7</a:t>
            </a:r>
          </a:p>
          <a:p>
            <a:pPr lvl="7"/>
            <a:r>
              <a:rPr lang="en-US" dirty="0"/>
              <a:t>8</a:t>
            </a:r>
          </a:p>
          <a:p>
            <a:pPr lvl="8"/>
            <a:r>
              <a:rPr lang="en-US" dirty="0"/>
              <a:t>9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5775" y="6642096"/>
            <a:ext cx="414319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3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00423" y="6642101"/>
            <a:ext cx="1002946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fld id="{CB573258-865D-4D56-9D42-963082B886A8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62460" y="6640724"/>
            <a:ext cx="2619378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11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0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 dirty="0">
              <a:solidFill>
                <a:srgbClr val="999999"/>
              </a:solidFill>
            </a:endParaRPr>
          </a:p>
        </p:txBody>
      </p:sp>
      <p:sp>
        <p:nvSpPr>
          <p:cNvPr id="12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999999"/>
                </a:solidFill>
              </a:rPr>
              <a:t> </a:t>
            </a:r>
            <a:endParaRPr lang="fi-FI" sz="700">
              <a:solidFill>
                <a:srgbClr val="999999"/>
              </a:solidFill>
            </a:endParaRPr>
          </a:p>
        </p:txBody>
      </p:sp>
      <p:sp>
        <p:nvSpPr>
          <p:cNvPr id="17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18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0954561" y="123666"/>
            <a:ext cx="973054" cy="59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844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4" r:id="rId1"/>
    <p:sldLayoutId id="2147484345" r:id="rId2"/>
    <p:sldLayoutId id="2147484346" r:id="rId3"/>
    <p:sldLayoutId id="2147484347" r:id="rId4"/>
    <p:sldLayoutId id="2147484348" r:id="rId5"/>
    <p:sldLayoutId id="2147484349" r:id="rId6"/>
    <p:sldLayoutId id="2147484350" r:id="rId7"/>
    <p:sldLayoutId id="2147484351" r:id="rId8"/>
    <p:sldLayoutId id="2147484352" r:id="rId9"/>
    <p:sldLayoutId id="2147484353" r:id="rId10"/>
    <p:sldLayoutId id="2147484354" r:id="rId11"/>
    <p:sldLayoutId id="2147484355" r:id="rId12"/>
    <p:sldLayoutId id="2147484356" r:id="rId13"/>
    <p:sldLayoutId id="2147484357" r:id="rId14"/>
    <p:sldLayoutId id="2147484358" r:id="rId15"/>
    <p:sldLayoutId id="2147484359" r:id="rId16"/>
    <p:sldLayoutId id="2147484360" r:id="rId17"/>
    <p:sldLayoutId id="2147484361" r:id="rId18"/>
    <p:sldLayoutId id="2147484362" r:id="rId19"/>
    <p:sldLayoutId id="2147484363" r:id="rId20"/>
    <p:sldLayoutId id="2147484364" r:id="rId21"/>
    <p:sldLayoutId id="2147484365" r:id="rId22"/>
    <p:sldLayoutId id="2147484366" r:id="rId23"/>
    <p:sldLayoutId id="2147484367" r:id="rId24"/>
    <p:sldLayoutId id="2147484368" r:id="rId25"/>
    <p:sldLayoutId id="2147484369" r:id="rId26"/>
    <p:sldLayoutId id="2147484370" r:id="rId27"/>
    <p:sldLayoutId id="2147484371" r:id="rId28"/>
    <p:sldLayoutId id="2147484372" r:id="rId29"/>
    <p:sldLayoutId id="2147484373" r:id="rId30"/>
    <p:sldLayoutId id="2147484374" r:id="rId31"/>
    <p:sldLayoutId id="2147484375" r:id="rId32"/>
    <p:sldLayoutId id="2147484376" r:id="rId33"/>
    <p:sldLayoutId id="2147484377" r:id="rId34"/>
    <p:sldLayoutId id="2147484378" r:id="rId35"/>
    <p:sldLayoutId id="2147484379" r:id="rId36"/>
    <p:sldLayoutId id="2147484380" r:id="rId37"/>
    <p:sldLayoutId id="2147484381" r:id="rId38"/>
    <p:sldLayoutId id="2147484382" r:id="rId39"/>
    <p:sldLayoutId id="2147484383" r:id="rId40"/>
    <p:sldLayoutId id="2147484384" r:id="rId41"/>
    <p:sldLayoutId id="2147484385" r:id="rId42"/>
    <p:sldLayoutId id="2147484386" r:id="rId43"/>
    <p:sldLayoutId id="2147484387" r:id="rId44"/>
    <p:sldLayoutId id="2147484388" r:id="rId45"/>
    <p:sldLayoutId id="2147484389" r:id="rId46"/>
    <p:sldLayoutId id="2147484390" r:id="rId47"/>
    <p:sldLayoutId id="2147484391" r:id="rId48"/>
    <p:sldLayoutId id="2147484392" r:id="rId49"/>
    <p:sldLayoutId id="2147484393" r:id="rId50"/>
    <p:sldLayoutId id="2147484394" r:id="rId51"/>
    <p:sldLayoutId id="2147484395" r:id="rId5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1pPr>
      <a:lvl2pPr marL="4320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2pPr>
      <a:lvl3pPr marL="684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3pPr>
      <a:lvl4pPr marL="972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4pPr>
      <a:lvl5pPr marL="1188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5pPr>
      <a:lvl6pPr marL="1440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6pPr>
      <a:lvl7pPr marL="1692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7pPr>
      <a:lvl8pPr marL="1872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8pPr>
      <a:lvl9pPr marL="2088000" indent="-1800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69">
          <p15:clr>
            <a:srgbClr val="F26B43"/>
          </p15:clr>
        </p15:guide>
        <p15:guide id="2" pos="6758">
          <p15:clr>
            <a:srgbClr val="F26B43"/>
          </p15:clr>
        </p15:guide>
        <p15:guide id="3" pos="507">
          <p15:clr>
            <a:srgbClr val="F26B43"/>
          </p15:clr>
        </p15:guide>
        <p15:guide id="4" pos="984">
          <p15:clr>
            <a:srgbClr val="F26B43"/>
          </p15:clr>
        </p15:guide>
        <p15:guide id="5" pos="70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hidden">
          <a:xfrm>
            <a:off x="0" y="6611696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80808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5775" y="6642096"/>
            <a:ext cx="414319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3" name="Copyright"/>
          <p:cNvSpPr txBox="1"/>
          <p:nvPr/>
        </p:nvSpPr>
        <p:spPr>
          <a:xfrm>
            <a:off x="809109" y="6657733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rgbClr val="808080"/>
                </a:solidFill>
              </a:rPr>
              <a:t>© Wärtsilä</a:t>
            </a:r>
          </a:p>
        </p:txBody>
      </p:sp>
      <p:sp>
        <p:nvSpPr>
          <p:cNvPr id="8" name="KRONO_CP_Class"/>
          <p:cNvSpPr txBox="1"/>
          <p:nvPr/>
        </p:nvSpPr>
        <p:spPr>
          <a:xfrm>
            <a:off x="1582736" y="6675334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cap="all" spc="100" smtClean="0">
                <a:solidFill>
                  <a:srgbClr val="808080"/>
                </a:solidFill>
              </a:rPr>
              <a:t>Public</a:t>
            </a:r>
            <a:endParaRPr lang="fi-FI" sz="900" cap="all" spc="100" dirty="0">
              <a:solidFill>
                <a:srgbClr val="808080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300423" y="6642101"/>
            <a:ext cx="1002946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62460" y="6640724"/>
            <a:ext cx="2619378" cy="180000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11" name="Label_number" hidden="1"/>
          <p:cNvSpPr/>
          <p:nvPr/>
        </p:nvSpPr>
        <p:spPr bwMode="auto">
          <a:xfrm>
            <a:off x="7149588" y="6660000"/>
            <a:ext cx="599000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Document ID </a:t>
            </a:r>
          </a:p>
        </p:txBody>
      </p:sp>
      <p:sp>
        <p:nvSpPr>
          <p:cNvPr id="10" name="KRONO_number"/>
          <p:cNvSpPr/>
          <p:nvPr/>
        </p:nvSpPr>
        <p:spPr bwMode="auto">
          <a:xfrm>
            <a:off x="7725156" y="6660000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 dirty="0">
              <a:solidFill>
                <a:srgbClr val="808080"/>
              </a:solidFill>
            </a:endParaRPr>
          </a:p>
        </p:txBody>
      </p:sp>
      <p:sp>
        <p:nvSpPr>
          <p:cNvPr id="12" name="Label_version" hidden="1"/>
          <p:cNvSpPr/>
          <p:nvPr/>
        </p:nvSpPr>
        <p:spPr bwMode="auto">
          <a:xfrm>
            <a:off x="8798826" y="6660000"/>
            <a:ext cx="432048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>
                <a:solidFill>
                  <a:srgbClr val="999999"/>
                </a:solidFill>
              </a:rPr>
              <a:t>Revision</a:t>
            </a:r>
          </a:p>
        </p:txBody>
      </p:sp>
      <p:sp>
        <p:nvSpPr>
          <p:cNvPr id="9" name="KRONO_version"/>
          <p:cNvSpPr/>
          <p:nvPr/>
        </p:nvSpPr>
        <p:spPr bwMode="auto">
          <a:xfrm>
            <a:off x="9232122" y="6660000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700" smtClean="0">
                <a:solidFill>
                  <a:srgbClr val="808080"/>
                </a:solidFill>
              </a:rPr>
              <a:t> </a:t>
            </a:r>
            <a:endParaRPr lang="fi-FI" sz="700">
              <a:solidFill>
                <a:srgbClr val="808080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10185400" y="0"/>
            <a:ext cx="2006600" cy="876300"/>
          </a:xfrm>
          <a:custGeom>
            <a:avLst/>
            <a:gdLst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0 w 2006600"/>
              <a:gd name="connsiteY3" fmla="*/ 876300 h 876300"/>
              <a:gd name="connsiteX4" fmla="*/ 0 w 2006600"/>
              <a:gd name="connsiteY4" fmla="*/ 0 h 876300"/>
              <a:gd name="connsiteX0" fmla="*/ 0 w 2006600"/>
              <a:gd name="connsiteY0" fmla="*/ 0 h 876300"/>
              <a:gd name="connsiteX1" fmla="*/ 2006600 w 2006600"/>
              <a:gd name="connsiteY1" fmla="*/ 0 h 876300"/>
              <a:gd name="connsiteX2" fmla="*/ 2006600 w 2006600"/>
              <a:gd name="connsiteY2" fmla="*/ 876300 h 876300"/>
              <a:gd name="connsiteX3" fmla="*/ 558800 w 2006600"/>
              <a:gd name="connsiteY3" fmla="*/ 876300 h 876300"/>
              <a:gd name="connsiteX4" fmla="*/ 0 w 2006600"/>
              <a:gd name="connsiteY4" fmla="*/ 0 h 87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6600" h="876300">
                <a:moveTo>
                  <a:pt x="0" y="0"/>
                </a:moveTo>
                <a:lnTo>
                  <a:pt x="2006600" y="0"/>
                </a:lnTo>
                <a:lnTo>
                  <a:pt x="2006600" y="876300"/>
                </a:lnTo>
                <a:lnTo>
                  <a:pt x="558800" y="8763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5985" y="898559"/>
            <a:ext cx="10515600" cy="7890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5599" y="1751288"/>
            <a:ext cx="10515985" cy="458471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Secret" hidden="1"/>
          <p:cNvSpPr txBox="1"/>
          <p:nvPr/>
        </p:nvSpPr>
        <p:spPr>
          <a:xfrm rot="18900000">
            <a:off x="9835200" y="5760000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400" b="1" kern="1900" spc="1300" dirty="0">
                <a:solidFill>
                  <a:srgbClr val="FF0000"/>
                </a:solidFill>
              </a:rPr>
              <a:t>SECRET</a:t>
            </a:r>
          </a:p>
        </p:txBody>
      </p:sp>
      <p:sp>
        <p:nvSpPr>
          <p:cNvPr id="18" name="Confidential" hidden="1"/>
          <p:cNvSpPr txBox="1"/>
          <p:nvPr/>
        </p:nvSpPr>
        <p:spPr>
          <a:xfrm rot="18900000">
            <a:off x="9834521" y="5759675"/>
            <a:ext cx="2952000" cy="432000"/>
          </a:xfrm>
          <a:prstGeom prst="rect">
            <a:avLst/>
          </a:prstGeom>
          <a:solidFill>
            <a:schemeClr val="accent5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b="1" kern="1900" spc="200" dirty="0">
                <a:solidFill>
                  <a:srgbClr val="FF0000"/>
                </a:solidFill>
              </a:rPr>
              <a:t>CONFIDENTIAL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10578902" y="226772"/>
            <a:ext cx="1528689" cy="36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712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9" r:id="rId1"/>
    <p:sldLayoutId id="2147484400" r:id="rId2"/>
    <p:sldLayoutId id="2147484401" r:id="rId3"/>
    <p:sldLayoutId id="2147484402" r:id="rId4"/>
    <p:sldLayoutId id="2147484403" r:id="rId5"/>
    <p:sldLayoutId id="2147484404" r:id="rId6"/>
    <p:sldLayoutId id="2147484405" r:id="rId7"/>
    <p:sldLayoutId id="2147484406" r:id="rId8"/>
    <p:sldLayoutId id="2147484407" r:id="rId9"/>
    <p:sldLayoutId id="2147484408" r:id="rId10"/>
    <p:sldLayoutId id="2147484409" r:id="rId11"/>
    <p:sldLayoutId id="2147484410" r:id="rId12"/>
    <p:sldLayoutId id="2147484411" r:id="rId13"/>
    <p:sldLayoutId id="2147484412" r:id="rId14"/>
    <p:sldLayoutId id="2147484413" r:id="rId15"/>
    <p:sldLayoutId id="2147484414" r:id="rId16"/>
    <p:sldLayoutId id="2147484415" r:id="rId17"/>
    <p:sldLayoutId id="2147484416" r:id="rId18"/>
    <p:sldLayoutId id="2147484417" r:id="rId19"/>
    <p:sldLayoutId id="2147484418" r:id="rId20"/>
    <p:sldLayoutId id="2147484419" r:id="rId21"/>
    <p:sldLayoutId id="2147484420" r:id="rId22"/>
    <p:sldLayoutId id="2147484421" r:id="rId23"/>
    <p:sldLayoutId id="2147484422" r:id="rId24"/>
    <p:sldLayoutId id="2147484423" r:id="rId25"/>
    <p:sldLayoutId id="2147484424" r:id="rId26"/>
    <p:sldLayoutId id="2147484425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1775" indent="-231775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tabLst/>
        <a:defRPr sz="2000" kern="1200">
          <a:solidFill>
            <a:srgbClr val="4D4D4D"/>
          </a:solidFill>
          <a:latin typeface="+mn-lt"/>
          <a:ea typeface="+mn-ea"/>
          <a:cs typeface="+mn-cs"/>
        </a:defRPr>
      </a:lvl1pPr>
      <a:lvl2pPr marL="582613" indent="-246063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Helvetica" charset="0"/>
        <a:buChar char="−"/>
        <a:tabLst/>
        <a:defRPr sz="1800" kern="1200">
          <a:solidFill>
            <a:srgbClr val="4D4D4D"/>
          </a:solidFill>
          <a:latin typeface="+mn-lt"/>
          <a:ea typeface="+mn-ea"/>
          <a:cs typeface="+mn-cs"/>
        </a:defRPr>
      </a:lvl2pPr>
      <a:lvl3pPr marL="866775" indent="-180975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Wingdings" charset="2"/>
        <a:buChar char="§"/>
        <a:tabLst/>
        <a:defRPr sz="1600" kern="1200">
          <a:solidFill>
            <a:srgbClr val="4D4D4D"/>
          </a:solidFill>
          <a:latin typeface="+mn-lt"/>
          <a:ea typeface="+mn-ea"/>
          <a:cs typeface="+mn-cs"/>
        </a:defRPr>
      </a:lvl3pPr>
      <a:lvl4pPr marL="1152525" indent="-168275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Courier New" charset="0"/>
        <a:buChar char="o"/>
        <a:tabLst/>
        <a:defRPr sz="1400" kern="1200">
          <a:solidFill>
            <a:srgbClr val="4D4D4D"/>
          </a:solidFill>
          <a:latin typeface="+mn-lt"/>
          <a:ea typeface="+mn-ea"/>
          <a:cs typeface="+mn-cs"/>
        </a:defRPr>
      </a:lvl4pPr>
      <a:lvl5pPr marL="1188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5pPr>
      <a:lvl6pPr marL="1440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6pPr>
      <a:lvl7pPr marL="1692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7pPr>
      <a:lvl8pPr marL="1872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8pPr>
      <a:lvl9pPr marL="2088000" indent="-180000" algn="l" defTabSz="914400" rtl="0" eaLnBrk="1" latinLnBrk="0" hangingPunct="1">
        <a:lnSpc>
          <a:spcPct val="100000"/>
        </a:lnSpc>
        <a:spcBef>
          <a:spcPts val="200"/>
        </a:spcBef>
        <a:buClr>
          <a:schemeClr val="accent2"/>
        </a:buClr>
        <a:buFont typeface="Arial" panose="020B0604020202020204" pitchFamily="34" charset="0"/>
        <a:buChar char="•"/>
        <a:defRPr sz="2000" kern="1200">
          <a:solidFill>
            <a:srgbClr val="4D4D4D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69">
          <p15:clr>
            <a:srgbClr val="F26B43"/>
          </p15:clr>
        </p15:guide>
        <p15:guide id="2" pos="6758">
          <p15:clr>
            <a:srgbClr val="F26B43"/>
          </p15:clr>
        </p15:guide>
        <p15:guide id="3" pos="507">
          <p15:clr>
            <a:srgbClr val="F26B43"/>
          </p15:clr>
        </p15:guide>
        <p15:guide id="4" pos="984">
          <p15:clr>
            <a:srgbClr val="F26B43"/>
          </p15:clr>
        </p15:guide>
        <p15:guide id="5" pos="70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6132E56D-1C1A-C945-8CD9-D0E5389C3164}" type="slidenum">
              <a:rPr lang="en-US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626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7" r:id="rId1"/>
    <p:sldLayoutId id="2147484428" r:id="rId2"/>
    <p:sldLayoutId id="2147484429" r:id="rId3"/>
    <p:sldLayoutId id="2147484430" r:id="rId4"/>
    <p:sldLayoutId id="2147484431" r:id="rId5"/>
    <p:sldLayoutId id="2147484432" r:id="rId6"/>
    <p:sldLayoutId id="2147484433" r:id="rId7"/>
    <p:sldLayoutId id="2147484434" r:id="rId8"/>
    <p:sldLayoutId id="2147484435" r:id="rId9"/>
    <p:sldLayoutId id="2147484436" r:id="rId10"/>
    <p:sldLayoutId id="2147484437" r:id="rId11"/>
    <p:sldLayoutId id="2147484438" r:id="rId12"/>
    <p:sldLayoutId id="2147484439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900" b="1" i="0" kern="1200">
          <a:solidFill>
            <a:srgbClr val="0F334A"/>
          </a:solidFill>
          <a:latin typeface="Helvetica Neue" charset="0"/>
          <a:ea typeface="Helvetica Neue" charset="0"/>
          <a:cs typeface="Helvetica Neue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200" kern="1200">
          <a:solidFill>
            <a:schemeClr val="tx1">
              <a:lumMod val="75000"/>
              <a:lumOff val="25000"/>
            </a:schemeClr>
          </a:solidFill>
          <a:latin typeface="Helvetica Neue" charset="0"/>
          <a:ea typeface="Helvetica Neue" charset="0"/>
          <a:cs typeface="Helvetica Neue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1" i="0" kern="1200">
          <a:solidFill>
            <a:schemeClr val="tx1">
              <a:lumMod val="75000"/>
              <a:lumOff val="25000"/>
            </a:schemeClr>
          </a:solidFill>
          <a:latin typeface="Helvetica Neue" charset="0"/>
          <a:ea typeface="Helvetica Neue" charset="0"/>
          <a:cs typeface="Helvetica Neue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b="0" i="0" kern="1200">
          <a:solidFill>
            <a:schemeClr val="tx1">
              <a:lumMod val="75000"/>
              <a:lumOff val="25000"/>
            </a:schemeClr>
          </a:solidFill>
          <a:latin typeface="Helvetica Neue Light" charset="0"/>
          <a:ea typeface="Helvetica Neue Light" charset="0"/>
          <a:cs typeface="Helvetica Neue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050" b="1" i="0" kern="1200">
          <a:solidFill>
            <a:schemeClr val="tx1">
              <a:lumMod val="75000"/>
              <a:lumOff val="25000"/>
            </a:schemeClr>
          </a:solidFill>
          <a:latin typeface="Helvetica Neue" charset="0"/>
          <a:ea typeface="Helvetica Neue" charset="0"/>
          <a:cs typeface="Helvetica Neue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800" b="0" i="0" kern="1200">
          <a:solidFill>
            <a:schemeClr val="tx1">
              <a:lumMod val="75000"/>
              <a:lumOff val="25000"/>
            </a:schemeClr>
          </a:solidFill>
          <a:latin typeface="Helvetica Neue" charset="0"/>
          <a:ea typeface="Helvetica Neue" charset="0"/>
          <a:cs typeface="Helvetica Neue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19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.emf"/><Relationship Id="rId5" Type="http://schemas.openxmlformats.org/officeDocument/2006/relationships/image" Target="../media/image3.jpeg"/><Relationship Id="rId4" Type="http://schemas.openxmlformats.org/officeDocument/2006/relationships/image" Target="../media/image1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39.emf"/><Relationship Id="rId4" Type="http://schemas.microsoft.com/office/2007/relationships/hdphoto" Target="../media/hdphoto3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7.emf"/><Relationship Id="rId5" Type="http://schemas.openxmlformats.org/officeDocument/2006/relationships/image" Target="../media/image36.emf"/><Relationship Id="rId4" Type="http://schemas.openxmlformats.org/officeDocument/2006/relationships/image" Target="../media/image4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52.png"/><Relationship Id="rId7" Type="http://schemas.openxmlformats.org/officeDocument/2006/relationships/diagramQuickStyle" Target="../diagrams/quickStyle1.xml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53.emf"/><Relationship Id="rId9" Type="http://schemas.microsoft.com/office/2007/relationships/diagramDrawing" Target="../diagrams/drawing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4.jpeg"/><Relationship Id="rId5" Type="http://schemas.openxmlformats.org/officeDocument/2006/relationships/image" Target="../media/image3.jpe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18" Type="http://schemas.openxmlformats.org/officeDocument/2006/relationships/image" Target="../media/image71.png"/><Relationship Id="rId26" Type="http://schemas.openxmlformats.org/officeDocument/2006/relationships/image" Target="../media/image79.tiff"/><Relationship Id="rId3" Type="http://schemas.openxmlformats.org/officeDocument/2006/relationships/image" Target="../media/image56.png"/><Relationship Id="rId21" Type="http://schemas.openxmlformats.org/officeDocument/2006/relationships/image" Target="../media/image74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17" Type="http://schemas.openxmlformats.org/officeDocument/2006/relationships/image" Target="../media/image70.png"/><Relationship Id="rId25" Type="http://schemas.openxmlformats.org/officeDocument/2006/relationships/image" Target="../media/image78.tiff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69.png"/><Relationship Id="rId20" Type="http://schemas.openxmlformats.org/officeDocument/2006/relationships/image" Target="../media/image7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9.png"/><Relationship Id="rId11" Type="http://schemas.openxmlformats.org/officeDocument/2006/relationships/image" Target="../media/image64.png"/><Relationship Id="rId24" Type="http://schemas.openxmlformats.org/officeDocument/2006/relationships/image" Target="../media/image77.tiff"/><Relationship Id="rId5" Type="http://schemas.openxmlformats.org/officeDocument/2006/relationships/image" Target="../media/image58.png"/><Relationship Id="rId15" Type="http://schemas.openxmlformats.org/officeDocument/2006/relationships/image" Target="../media/image68.png"/><Relationship Id="rId23" Type="http://schemas.openxmlformats.org/officeDocument/2006/relationships/image" Target="../media/image76.tiff"/><Relationship Id="rId10" Type="http://schemas.openxmlformats.org/officeDocument/2006/relationships/image" Target="../media/image63.png"/><Relationship Id="rId19" Type="http://schemas.openxmlformats.org/officeDocument/2006/relationships/image" Target="../media/image72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Relationship Id="rId14" Type="http://schemas.openxmlformats.org/officeDocument/2006/relationships/image" Target="../media/image67.png"/><Relationship Id="rId22" Type="http://schemas.openxmlformats.org/officeDocument/2006/relationships/image" Target="../media/image75.tif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emf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mailto:Thomas.Hellmich@wartsila.com" TargetMode="External"/><Relationship Id="rId2" Type="http://schemas.openxmlformats.org/officeDocument/2006/relationships/hyperlink" Target="mailto:Wilhelm.vB@wartsila.com" TargetMode="Externa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25.tiff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2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7.tif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slideLayout" Target="../slideLayouts/slideLayout19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8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33.png"/><Relationship Id="rId11" Type="http://schemas.openxmlformats.org/officeDocument/2006/relationships/image" Target="../media/image37.emf"/><Relationship Id="rId5" Type="http://schemas.openxmlformats.org/officeDocument/2006/relationships/image" Target="../media/image32.png"/><Relationship Id="rId10" Type="http://schemas.openxmlformats.org/officeDocument/2006/relationships/image" Target="../media/image36.emf"/><Relationship Id="rId4" Type="http://schemas.openxmlformats.org/officeDocument/2006/relationships/image" Target="../media/image31.emf"/><Relationship Id="rId9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"/>
          <a:stretch/>
        </p:blipFill>
        <p:spPr>
          <a:xfrm>
            <a:off x="0" y="-8709"/>
            <a:ext cx="12192000" cy="6866709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-36284" y="-4539"/>
            <a:ext cx="12228284" cy="6875418"/>
            <a:chOff x="-36284" y="0"/>
            <a:chExt cx="12228284" cy="6875418"/>
          </a:xfrm>
        </p:grpSpPr>
        <p:sp>
          <p:nvSpPr>
            <p:cNvPr id="10" name="Rectangle 9"/>
            <p:cNvSpPr/>
            <p:nvPr/>
          </p:nvSpPr>
          <p:spPr>
            <a:xfrm>
              <a:off x="0" y="8709"/>
              <a:ext cx="12192000" cy="6858000"/>
            </a:xfrm>
            <a:prstGeom prst="rect">
              <a:avLst/>
            </a:prstGeom>
            <a:solidFill>
              <a:schemeClr val="tx1">
                <a:alpha val="34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36284" y="0"/>
              <a:ext cx="12228284" cy="6875418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5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261419" y="167506"/>
              <a:ext cx="674740" cy="472318"/>
            </a:xfrm>
            <a:prstGeom prst="rect">
              <a:avLst/>
            </a:prstGeom>
          </p:spPr>
        </p:pic>
      </p:grp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724421" y="2513860"/>
            <a:ext cx="11211738" cy="1621362"/>
          </a:xfrm>
        </p:spPr>
        <p:txBody>
          <a:bodyPr>
            <a:normAutofit/>
          </a:bodyPr>
          <a:lstStyle/>
          <a:p>
            <a:r>
              <a:rPr lang="en-US" dirty="0"/>
              <a:t>Intelligent Integration of Energy Storage Systems in the South Pacific Region</a:t>
            </a:r>
            <a:endParaRPr lang="en-US" sz="3100" dirty="0"/>
          </a:p>
        </p:txBody>
      </p:sp>
      <p:sp>
        <p:nvSpPr>
          <p:cNvPr id="12" name="Rectangle 11"/>
          <p:cNvSpPr/>
          <p:nvPr/>
        </p:nvSpPr>
        <p:spPr>
          <a:xfrm>
            <a:off x="724421" y="4391022"/>
            <a:ext cx="936650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pc="1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Pacific Power Association Conference 2018</a:t>
            </a:r>
          </a:p>
          <a:p>
            <a:r>
              <a:rPr lang="en-US" spc="1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Koror | Palau</a:t>
            </a:r>
          </a:p>
          <a:p>
            <a:r>
              <a:rPr lang="en-US" spc="100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July/August </a:t>
            </a:r>
            <a:r>
              <a:rPr lang="en-US" spc="1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2018</a:t>
            </a:r>
          </a:p>
          <a:p>
            <a:endParaRPr lang="en-US" spc="10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spc="100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Wilhelm van Butselaar | Area Manager Energy Storage &amp; Integration</a:t>
            </a:r>
          </a:p>
          <a:p>
            <a:endParaRPr lang="en-US" spc="100" dirty="0" smtClean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r>
              <a:rPr lang="en-US" dirty="0" err="1">
                <a:solidFill>
                  <a:schemeClr val="bg1"/>
                </a:solidFill>
                <a:latin typeface="+mj-lt"/>
              </a:rPr>
              <a:t>Wärtsilä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 Singapore </a:t>
            </a:r>
            <a:r>
              <a:rPr lang="en-US" dirty="0" err="1">
                <a:solidFill>
                  <a:schemeClr val="bg1"/>
                </a:solidFill>
                <a:latin typeface="+mj-lt"/>
              </a:rPr>
              <a:t>Pte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 Ltd </a:t>
            </a:r>
            <a:endParaRPr lang="en-US" spc="100" dirty="0">
              <a:solidFill>
                <a:schemeClr val="bg1"/>
              </a:solidFill>
              <a:latin typeface="+mj-lt"/>
              <a:ea typeface="Arial" charset="0"/>
              <a:cs typeface="Arial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46642" y="5920667"/>
            <a:ext cx="2524813" cy="79913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06C49460-F619-C74A-825C-30FE32ED54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5300" y="386247"/>
            <a:ext cx="1714500" cy="104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131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angle 100"/>
          <p:cNvSpPr/>
          <p:nvPr/>
        </p:nvSpPr>
        <p:spPr>
          <a:xfrm>
            <a:off x="7619174" y="1837690"/>
            <a:ext cx="2725690" cy="16669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0" name="Rectangle 99"/>
          <p:cNvSpPr/>
          <p:nvPr/>
        </p:nvSpPr>
        <p:spPr>
          <a:xfrm>
            <a:off x="4863399" y="1835532"/>
            <a:ext cx="2725690" cy="16669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836371" y="1832977"/>
            <a:ext cx="2725690" cy="16669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Left-Right Arrow 5"/>
          <p:cNvSpPr/>
          <p:nvPr/>
        </p:nvSpPr>
        <p:spPr>
          <a:xfrm>
            <a:off x="1395006" y="3567898"/>
            <a:ext cx="9401988" cy="554829"/>
          </a:xfrm>
          <a:prstGeom prst="leftRightArrow">
            <a:avLst/>
          </a:prstGeom>
          <a:solidFill>
            <a:srgbClr val="828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74182" y="957490"/>
            <a:ext cx="10317887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80"/>
              </a:lnSpc>
              <a:buClr>
                <a:srgbClr val="FF7321"/>
              </a:buClr>
            </a:pPr>
            <a:r>
              <a:rPr lang="en-US" sz="2900" b="1" spc="100" dirty="0">
                <a:solidFill>
                  <a:srgbClr val="0F334A"/>
                </a:solidFill>
                <a:latin typeface="Helvetica Neue" charset="0"/>
                <a:ea typeface="Helvetica Neue" charset="0"/>
                <a:cs typeface="Helvetica Neue" charset="0"/>
              </a:rPr>
              <a:t>Frequency regulation </a:t>
            </a:r>
            <a:r>
              <a:rPr lang="en-US" sz="2900" b="1" spc="100" dirty="0">
                <a:solidFill>
                  <a:srgbClr val="00935E"/>
                </a:solidFill>
                <a:latin typeface="Helvetica Neue" charset="0"/>
                <a:ea typeface="Helvetica Neue" charset="0"/>
                <a:cs typeface="Helvetica Neue" charset="0"/>
              </a:rPr>
              <a:t>services has many forms</a:t>
            </a:r>
          </a:p>
        </p:txBody>
      </p:sp>
      <p:graphicFrame>
        <p:nvGraphicFramePr>
          <p:cNvPr id="20" name="Group 323"/>
          <p:cNvGraphicFramePr>
            <a:graphicFrameLocks/>
          </p:cNvGraphicFramePr>
          <p:nvPr>
            <p:extLst/>
          </p:nvPr>
        </p:nvGraphicFramePr>
        <p:xfrm>
          <a:off x="1395006" y="3963943"/>
          <a:ext cx="9401987" cy="2445496"/>
        </p:xfrm>
        <a:graphic>
          <a:graphicData uri="http://schemas.openxmlformats.org/drawingml/2006/table">
            <a:tbl>
              <a:tblPr/>
              <a:tblGrid>
                <a:gridCol w="27297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4129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592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4192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Clr>
                          <a:schemeClr val="bg1">
                            <a:lumMod val="95000"/>
                          </a:schemeClr>
                        </a:buClr>
                        <a:buFont typeface="Arial" charset="0"/>
                        <a:buNone/>
                      </a:pPr>
                      <a:r>
                        <a:rPr lang="en-US" sz="1400" b="1" dirty="0">
                          <a:solidFill>
                            <a:srgbClr val="004A6B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Frequency services</a:t>
                      </a:r>
                    </a:p>
                  </a:txBody>
                  <a:tcPr marL="80165" marR="80165" marT="40089" marB="40089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Clr>
                          <a:schemeClr val="bg1">
                            <a:lumMod val="95000"/>
                          </a:schemeClr>
                        </a:buClr>
                        <a:buFont typeface="Arial" charset="0"/>
                        <a:buNone/>
                      </a:pPr>
                      <a:r>
                        <a:rPr lang="en-US" sz="1400" b="1" dirty="0">
                          <a:solidFill>
                            <a:srgbClr val="004A6B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Description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Clr>
                          <a:schemeClr val="bg1">
                            <a:lumMod val="95000"/>
                          </a:schemeClr>
                        </a:buClr>
                        <a:buFont typeface="Arial" charset="0"/>
                        <a:buNone/>
                      </a:pPr>
                      <a:r>
                        <a:rPr lang="en-US" sz="1400" b="1" dirty="0">
                          <a:solidFill>
                            <a:srgbClr val="004A6B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GS examples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5754"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</a:pPr>
                      <a:r>
                        <a:rPr lang="en-US" sz="1200" kern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Regulation via AGC Signal</a:t>
                      </a:r>
                    </a:p>
                  </a:txBody>
                  <a:tcPr marL="80165" marR="80165" marT="40089" marB="40089" anchor="ctr" horzOverflow="overflow">
                    <a:lnL cap="flat"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</a:pPr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GEMS responds to an automated generator control signal to manage grid frequency deviations.  Usually measured by accuracy and energy neutrality varies by market.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</a:pPr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Frontier, Meyersdale, Beckjord, Pomona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575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n-US" sz="12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Autonomous Response at POI</a:t>
                      </a:r>
                    </a:p>
                  </a:txBody>
                  <a:tcPr marL="80165" marR="80165" marT="40089" marB="40089" anchor="ctr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GEMS measures frequency locally and responds proportionally according to a predetermined response envelope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rgbClr val="4C4C4C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Texas Waves, German PCR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57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200" kern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Frequency Droop</a:t>
                      </a:r>
                      <a:r>
                        <a:rPr lang="en-US" sz="1200" kern="1100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 Control/RRC</a:t>
                      </a:r>
                      <a:endParaRPr lang="en-US" sz="1200" kern="11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Helvetica Neue Light" charset="0"/>
                        <a:ea typeface="Helvetica Neue Light" charset="0"/>
                        <a:cs typeface="Helvetica Neue Light" charset="0"/>
                      </a:endParaRPr>
                    </a:p>
                  </a:txBody>
                  <a:tcPr marL="80165" marR="80165" marT="40089" marB="40089" anchor="ctr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Provide near-instant reserve power in the case of a grid fault. GEMS measures frequency locally and can either dispatch centrally from a control room or autonomously from site.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rgbClr val="4C4C4C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Iron Horse, PRANG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4" name="TextBox 23"/>
          <p:cNvSpPr txBox="1"/>
          <p:nvPr/>
        </p:nvSpPr>
        <p:spPr>
          <a:xfrm>
            <a:off x="4911806" y="3641351"/>
            <a:ext cx="2598111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1300" b="1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Autonomous Response at POI</a:t>
            </a:r>
            <a:endParaRPr lang="en-US" sz="1300" dirty="0">
              <a:solidFill>
                <a:schemeClr val="bg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7941207" y="3641351"/>
            <a:ext cx="2226367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1300" b="1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Frequency Droop Control</a:t>
            </a:r>
            <a:endParaRPr lang="en-US" sz="1300" dirty="0">
              <a:solidFill>
                <a:schemeClr val="bg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902135" y="3630879"/>
            <a:ext cx="2431558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1300" b="1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egulation via AGC Signal</a:t>
            </a:r>
            <a:endParaRPr lang="en-US" sz="1300" dirty="0">
              <a:solidFill>
                <a:schemeClr val="bg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1836371" y="1783579"/>
            <a:ext cx="2603623" cy="1657780"/>
            <a:chOff x="457200" y="1693412"/>
            <a:chExt cx="6515100" cy="2958597"/>
          </a:xfrm>
        </p:grpSpPr>
        <p:pic>
          <p:nvPicPr>
            <p:cNvPr id="33" name="Picture 32"/>
            <p:cNvPicPr/>
            <p:nvPr/>
          </p:nvPicPr>
          <p:blipFill rotWithShape="1">
            <a:blip r:embed="rId3" cstate="screen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6516" y="1828800"/>
              <a:ext cx="6195784" cy="2823209"/>
            </a:xfrm>
            <a:prstGeom prst="rect">
              <a:avLst/>
            </a:prstGeom>
          </p:spPr>
        </p:pic>
        <p:sp>
          <p:nvSpPr>
            <p:cNvPr id="34" name="TextBox 33"/>
            <p:cNvSpPr txBox="1"/>
            <p:nvPr/>
          </p:nvSpPr>
          <p:spPr>
            <a:xfrm>
              <a:off x="457200" y="1693412"/>
              <a:ext cx="1262741" cy="384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MW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930969" y="1627287"/>
            <a:ext cx="2495823" cy="2034540"/>
            <a:chOff x="1178370" y="406196"/>
            <a:chExt cx="7965630" cy="7397312"/>
          </a:xfrm>
        </p:grpSpPr>
        <p:cxnSp>
          <p:nvCxnSpPr>
            <p:cNvPr id="36" name="Straight Arrow Connector 35"/>
            <p:cNvCxnSpPr/>
            <p:nvPr/>
          </p:nvCxnSpPr>
          <p:spPr>
            <a:xfrm flipV="1">
              <a:off x="5496910" y="1818290"/>
              <a:ext cx="0" cy="4183117"/>
            </a:xfrm>
            <a:prstGeom prst="straightConnector1">
              <a:avLst/>
            </a:prstGeom>
            <a:ln>
              <a:solidFill>
                <a:schemeClr val="tx1"/>
              </a:solidFill>
              <a:prstDash val="lg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/>
            <p:cNvCxnSpPr/>
            <p:nvPr/>
          </p:nvCxnSpPr>
          <p:spPr>
            <a:xfrm>
              <a:off x="2319688" y="3803780"/>
              <a:ext cx="6505574" cy="962"/>
            </a:xfrm>
            <a:prstGeom prst="straightConnector1">
              <a:avLst/>
            </a:prstGeom>
            <a:ln>
              <a:solidFill>
                <a:schemeClr val="tx1"/>
              </a:solidFill>
              <a:prstDash val="lg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/>
            <p:cNvSpPr/>
            <p:nvPr/>
          </p:nvSpPr>
          <p:spPr>
            <a:xfrm>
              <a:off x="4891483" y="3191436"/>
              <a:ext cx="1229711" cy="1229711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39" name="Straight Connector 38"/>
            <p:cNvCxnSpPr/>
            <p:nvPr/>
          </p:nvCxnSpPr>
          <p:spPr>
            <a:xfrm>
              <a:off x="6121194" y="3186412"/>
              <a:ext cx="1731888" cy="2375646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>
              <a:off x="6121194" y="4421147"/>
              <a:ext cx="1731888" cy="1145935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>
              <a:off x="7848058" y="5565644"/>
              <a:ext cx="739589" cy="0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6121194" y="3803780"/>
              <a:ext cx="1726864" cy="1758278"/>
            </a:xfrm>
            <a:prstGeom prst="line">
              <a:avLst/>
            </a:prstGeom>
            <a:ln w="12700">
              <a:solidFill>
                <a:srgbClr val="4171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 rot="10800000" flipH="1" flipV="1">
              <a:off x="3161295" y="2052225"/>
              <a:ext cx="1731888" cy="2375646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rot="10800000" flipH="1" flipV="1">
              <a:off x="3161295" y="2047201"/>
              <a:ext cx="1731888" cy="1145935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 rot="10800000" flipH="1" flipV="1">
              <a:off x="2426730" y="2048639"/>
              <a:ext cx="739589" cy="0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rot="10800000" flipH="1" flipV="1">
              <a:off x="3166319" y="2052225"/>
              <a:ext cx="1726864" cy="1758278"/>
            </a:xfrm>
            <a:prstGeom prst="line">
              <a:avLst/>
            </a:prstGeom>
            <a:ln w="12700">
              <a:solidFill>
                <a:srgbClr val="4171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Arrow Connector 46"/>
            <p:cNvCxnSpPr/>
            <p:nvPr/>
          </p:nvCxnSpPr>
          <p:spPr>
            <a:xfrm>
              <a:off x="2319688" y="6001407"/>
              <a:ext cx="6824312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Arrow Connector 47"/>
            <p:cNvCxnSpPr/>
            <p:nvPr/>
          </p:nvCxnSpPr>
          <p:spPr>
            <a:xfrm flipV="1">
              <a:off x="2319688" y="1690688"/>
              <a:ext cx="0" cy="4310719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 flipH="1">
              <a:off x="2233061" y="2047201"/>
              <a:ext cx="8662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 flipH="1">
              <a:off x="2363693" y="3186412"/>
              <a:ext cx="2464755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flipH="1">
              <a:off x="2363693" y="4408921"/>
              <a:ext cx="2464755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 flipH="1">
              <a:off x="2233061" y="3193137"/>
              <a:ext cx="8662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flipH="1">
              <a:off x="2233061" y="4408921"/>
              <a:ext cx="8662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flipH="1">
              <a:off x="2233061" y="3811317"/>
              <a:ext cx="8662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extBox 55"/>
            <p:cNvSpPr txBox="1"/>
            <p:nvPr/>
          </p:nvSpPr>
          <p:spPr>
            <a:xfrm>
              <a:off x="1856980" y="1849500"/>
              <a:ext cx="865647" cy="6714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10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821892" y="3001746"/>
              <a:ext cx="932160" cy="6714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2.5</a:t>
              </a: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1995721" y="3616643"/>
              <a:ext cx="727515" cy="6714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0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750464" y="4224254"/>
              <a:ext cx="1014018" cy="6714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-2.5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1798277" y="5377285"/>
              <a:ext cx="947505" cy="6714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-10</a:t>
              </a:r>
            </a:p>
          </p:txBody>
        </p:sp>
        <p:cxnSp>
          <p:nvCxnSpPr>
            <p:cNvPr id="61" name="Straight Connector 60"/>
            <p:cNvCxnSpPr/>
            <p:nvPr/>
          </p:nvCxnSpPr>
          <p:spPr>
            <a:xfrm flipH="1">
              <a:off x="2363693" y="5561950"/>
              <a:ext cx="5413211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H="1">
              <a:off x="2229792" y="5561950"/>
              <a:ext cx="8662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>
              <a:off x="5496910" y="6001407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/>
          </p:nvCxnSpPr>
          <p:spPr>
            <a:xfrm>
              <a:off x="6121194" y="6001407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>
              <a:off x="6121194" y="4499360"/>
              <a:ext cx="0" cy="1434969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>
              <a:off x="4891483" y="6001407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>
              <a:off x="4891483" y="4499360"/>
              <a:ext cx="0" cy="1434969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>
              <a:off x="7848058" y="5642688"/>
              <a:ext cx="0" cy="291641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>
              <a:off x="7848058" y="6001407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>
              <a:off x="3161294" y="2116729"/>
              <a:ext cx="0" cy="381760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>
              <a:off x="3161294" y="6001407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Box 71"/>
            <p:cNvSpPr txBox="1"/>
            <p:nvPr/>
          </p:nvSpPr>
          <p:spPr>
            <a:xfrm rot="16200000">
              <a:off x="-1931253" y="3515819"/>
              <a:ext cx="6808624" cy="5893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⟵ Charging     Capability (MW)    Discharging ⟶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2863067" y="6085936"/>
              <a:ext cx="1070291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49.8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7550234" y="6081490"/>
              <a:ext cx="1070291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50.2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6488847" y="6081490"/>
              <a:ext cx="840070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</a:t>
              </a:r>
              <a:r>
                <a:rPr lang="en-US" sz="600" baseline="-250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n2</a:t>
              </a:r>
            </a:p>
          </p:txBody>
        </p:sp>
        <p:cxnSp>
          <p:nvCxnSpPr>
            <p:cNvPr id="76" name="Straight Connector 75"/>
            <p:cNvCxnSpPr/>
            <p:nvPr/>
          </p:nvCxnSpPr>
          <p:spPr>
            <a:xfrm>
              <a:off x="6629729" y="6001406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 flipH="1">
              <a:off x="6629729" y="3985979"/>
              <a:ext cx="33996" cy="1948349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TextBox 77"/>
            <p:cNvSpPr txBox="1"/>
            <p:nvPr/>
          </p:nvSpPr>
          <p:spPr>
            <a:xfrm>
              <a:off x="5763850" y="6082500"/>
              <a:ext cx="1208430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50.05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4570826" y="6081482"/>
              <a:ext cx="1208430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49.95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5296689" y="6081482"/>
              <a:ext cx="865647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50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4293644" y="6081490"/>
              <a:ext cx="840070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</a:t>
              </a:r>
              <a:r>
                <a:rPr lang="en-US" sz="600" baseline="-250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n1</a:t>
              </a:r>
            </a:p>
          </p:txBody>
        </p:sp>
        <p:cxnSp>
          <p:nvCxnSpPr>
            <p:cNvPr id="82" name="Straight Connector 81"/>
            <p:cNvCxnSpPr/>
            <p:nvPr/>
          </p:nvCxnSpPr>
          <p:spPr>
            <a:xfrm>
              <a:off x="4525961" y="6001406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>
              <a:off x="4540348" y="3001746"/>
              <a:ext cx="0" cy="2932582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TextBox 83"/>
            <p:cNvSpPr txBox="1"/>
            <p:nvPr/>
          </p:nvSpPr>
          <p:spPr>
            <a:xfrm>
              <a:off x="3521871" y="6460667"/>
              <a:ext cx="3954166" cy="1342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⟵∆f (–)	   Frequency (Hz)	∆f (+) ⟶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7633604" y="1832977"/>
            <a:ext cx="3037447" cy="1698571"/>
            <a:chOff x="0" y="47387"/>
            <a:chExt cx="5346892" cy="2826839"/>
          </a:xfrm>
        </p:grpSpPr>
        <p:pic>
          <p:nvPicPr>
            <p:cNvPr id="86" name="Picture 8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2550" y="274003"/>
              <a:ext cx="4575643" cy="2450128"/>
            </a:xfrm>
            <a:prstGeom prst="rect">
              <a:avLst/>
            </a:prstGeom>
          </p:spPr>
        </p:pic>
        <p:sp>
          <p:nvSpPr>
            <p:cNvPr id="87" name="Rectangle 86"/>
            <p:cNvSpPr/>
            <p:nvPr/>
          </p:nvSpPr>
          <p:spPr>
            <a:xfrm>
              <a:off x="82550" y="2397900"/>
              <a:ext cx="4575643" cy="3022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0" y="91485"/>
              <a:ext cx="901342" cy="307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 POI</a:t>
              </a: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0" y="586741"/>
              <a:ext cx="400050" cy="6146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1.0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0" y="1300251"/>
              <a:ext cx="685799" cy="307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 </a:t>
              </a:r>
              <a:r>
                <a:rPr lang="en-US" sz="600" baseline="-250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RIG</a:t>
              </a: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1555750" y="2370326"/>
              <a:ext cx="400050" cy="4097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</a:t>
              </a:r>
              <a:r>
                <a:rPr lang="en-US" sz="600" baseline="-250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0</a:t>
              </a: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3600450" y="2362010"/>
              <a:ext cx="400050" cy="512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</a:t>
              </a:r>
              <a:r>
                <a:rPr lang="en-US" sz="600" baseline="-250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60</a:t>
              </a: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4083050" y="2360042"/>
              <a:ext cx="400050" cy="512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</a:t>
              </a:r>
              <a:r>
                <a:rPr lang="en-US" sz="600" baseline="-250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75</a:t>
              </a: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4386772" y="47387"/>
              <a:ext cx="960120" cy="307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ESS MW</a:t>
              </a: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266700" y="2360042"/>
              <a:ext cx="960120" cy="307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t</a:t>
              </a:r>
              <a:r>
                <a:rPr lang="en-US" sz="600" baseline="-250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sec</a:t>
              </a: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4384424" y="274004"/>
              <a:ext cx="669457" cy="460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1.0 PU</a:t>
              </a: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3926506" y="504955"/>
              <a:ext cx="790724" cy="76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Ramp Down</a:t>
              </a:r>
            </a:p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After 60 sec</a:t>
              </a: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2729145" y="185886"/>
              <a:ext cx="772244" cy="460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ESS MW</a:t>
              </a: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339090" y="474427"/>
              <a:ext cx="1216661" cy="460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POI Frequency</a:t>
              </a:r>
            </a:p>
          </p:txBody>
        </p:sp>
      </p:grpSp>
      <p:sp>
        <p:nvSpPr>
          <p:cNvPr id="102" name="TextBox 101"/>
          <p:cNvSpPr txBox="1"/>
          <p:nvPr/>
        </p:nvSpPr>
        <p:spPr>
          <a:xfrm>
            <a:off x="303863" y="162462"/>
            <a:ext cx="2125011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80"/>
              </a:lnSpc>
            </a:pPr>
            <a:r>
              <a:rPr lang="en-US" sz="1400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Balancing the Grid</a:t>
            </a:r>
          </a:p>
        </p:txBody>
      </p:sp>
    </p:spTree>
    <p:extLst>
      <p:ext uri="{BB962C8B-B14F-4D97-AF65-F5344CB8AC3E}">
        <p14:creationId xmlns:p14="http://schemas.microsoft.com/office/powerpoint/2010/main" val="2745780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0" y="1729669"/>
            <a:ext cx="12192000" cy="1787535"/>
          </a:xfrm>
          <a:prstGeom prst="rect">
            <a:avLst/>
          </a:prstGeom>
          <a:solidFill>
            <a:srgbClr val="0867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Left-Right Arrow 5"/>
          <p:cNvSpPr/>
          <p:nvPr/>
        </p:nvSpPr>
        <p:spPr>
          <a:xfrm>
            <a:off x="954233" y="2962375"/>
            <a:ext cx="10283532" cy="554829"/>
          </a:xfrm>
          <a:prstGeom prst="leftRightArrow">
            <a:avLst/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774182" y="897856"/>
            <a:ext cx="10317887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80"/>
              </a:lnSpc>
              <a:buClr>
                <a:srgbClr val="FF7321"/>
              </a:buClr>
            </a:pPr>
            <a:r>
              <a:rPr lang="en-US" sz="2900" b="1" spc="100" dirty="0">
                <a:solidFill>
                  <a:srgbClr val="0F334A"/>
                </a:solidFill>
                <a:latin typeface="Helvetica Neue" charset="0"/>
                <a:ea typeface="Helvetica Neue" charset="0"/>
                <a:cs typeface="Helvetica Neue" charset="0"/>
              </a:rPr>
              <a:t>Renewables + Storage: </a:t>
            </a:r>
            <a:r>
              <a:rPr lang="en-US" sz="2900" b="1" spc="100" dirty="0">
                <a:solidFill>
                  <a:srgbClr val="00935E"/>
                </a:solidFill>
                <a:latin typeface="Helvetica Neue" charset="0"/>
                <a:ea typeface="Helvetica Neue" charset="0"/>
                <a:cs typeface="Helvetica Neue" charset="0"/>
              </a:rPr>
              <a:t>A spectrum of benefit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395006" y="1878063"/>
            <a:ext cx="9401988" cy="1099825"/>
            <a:chOff x="728471" y="2391249"/>
            <a:chExt cx="7617566" cy="891087"/>
          </a:xfrm>
        </p:grpSpPr>
        <p:pic>
          <p:nvPicPr>
            <p:cNvPr id="14" name="Picture 13" descr="C:\Users\Kent Sheldon\Dropbox (GS Commercial Team)\GS Accounts Shared\TEP\Charts\Final\Frequency Response v2.png"/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8471" y="2407514"/>
              <a:ext cx="1436439" cy="87482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" name="Picture 14"/>
            <p:cNvPicPr/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900" t="10692" r="1677" b="2065"/>
            <a:stretch/>
          </p:blipFill>
          <p:spPr bwMode="auto">
            <a:xfrm>
              <a:off x="2315659" y="2403892"/>
              <a:ext cx="1341414" cy="878444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6" name="Picture 15"/>
            <p:cNvPicPr/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399" t="11801" r="1272" b="2791"/>
            <a:stretch/>
          </p:blipFill>
          <p:spPr bwMode="auto">
            <a:xfrm>
              <a:off x="3807821" y="2392950"/>
              <a:ext cx="1417096" cy="878897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7" name="Picture 16"/>
            <p:cNvPicPr/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199" t="8074" r="1180" b="2312"/>
            <a:stretch/>
          </p:blipFill>
          <p:spPr bwMode="auto">
            <a:xfrm>
              <a:off x="5375666" y="2391249"/>
              <a:ext cx="1399037" cy="880598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8" name="Picture 17"/>
            <p:cNvPicPr/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83" t="10466" r="1262" b="3030"/>
            <a:stretch/>
          </p:blipFill>
          <p:spPr bwMode="auto">
            <a:xfrm>
              <a:off x="6925451" y="2392859"/>
              <a:ext cx="1420586" cy="876908"/>
            </a:xfrm>
            <a:prstGeom prst="rect">
              <a:avLst/>
            </a:prstGeom>
            <a:noFill/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graphicFrame>
        <p:nvGraphicFramePr>
          <p:cNvPr id="20" name="Group 323"/>
          <p:cNvGraphicFramePr>
            <a:graphicFrameLocks/>
          </p:cNvGraphicFramePr>
          <p:nvPr>
            <p:extLst/>
          </p:nvPr>
        </p:nvGraphicFramePr>
        <p:xfrm>
          <a:off x="1395006" y="3608476"/>
          <a:ext cx="9401987" cy="2743012"/>
        </p:xfrm>
        <a:graphic>
          <a:graphicData uri="http://schemas.openxmlformats.org/drawingml/2006/table">
            <a:tbl>
              <a:tblPr/>
              <a:tblGrid>
                <a:gridCol w="27297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41297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592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4192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Clr>
                          <a:schemeClr val="bg1">
                            <a:lumMod val="95000"/>
                          </a:schemeClr>
                        </a:buClr>
                        <a:buFont typeface="Arial" charset="0"/>
                        <a:buNone/>
                      </a:pPr>
                      <a:r>
                        <a:rPr lang="en-US" sz="1400" b="1" dirty="0">
                          <a:solidFill>
                            <a:srgbClr val="004A6B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ESS Application</a:t>
                      </a:r>
                    </a:p>
                  </a:txBody>
                  <a:tcPr marL="80165" marR="80165" marT="40089" marB="40089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50000"/>
                        </a:lnSpc>
                        <a:buClr>
                          <a:schemeClr val="bg1">
                            <a:lumMod val="95000"/>
                          </a:schemeClr>
                        </a:buClr>
                        <a:buFont typeface="Arial" charset="0"/>
                        <a:buNone/>
                      </a:pPr>
                      <a:r>
                        <a:rPr lang="en-US" sz="1400" b="1" dirty="0">
                          <a:solidFill>
                            <a:srgbClr val="004A6B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Description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Clr>
                          <a:schemeClr val="bg1">
                            <a:lumMod val="95000"/>
                          </a:schemeClr>
                        </a:buClr>
                        <a:buFont typeface="Arial" charset="0"/>
                        <a:buNone/>
                      </a:pPr>
                      <a:r>
                        <a:rPr lang="en-US" sz="1400" b="1" dirty="0">
                          <a:solidFill>
                            <a:srgbClr val="004A6B"/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ESS Sizing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5754"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</a:pPr>
                      <a:r>
                        <a:rPr lang="en-US" sz="1400" kern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Frequency Response</a:t>
                      </a:r>
                    </a:p>
                  </a:txBody>
                  <a:tcPr marL="80165" marR="80165" marT="40089" marB="40089" anchor="ctr" horzOverflow="overflow">
                    <a:lnL cap="flat"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Corrects over and under frequency 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15-30 minutes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004A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5754">
                <a:tc>
                  <a:txBody>
                    <a:bodyPr/>
                    <a:lstStyle/>
                    <a:p>
                      <a:r>
                        <a:rPr lang="en-US" sz="1400" b="0" i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Ramp Rate Control</a:t>
                      </a:r>
                    </a:p>
                  </a:txBody>
                  <a:tcPr marL="80165" marR="80165" marT="40089" marB="40089" anchor="ctr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Mitigates ramping at generation source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rgbClr val="4C4C4C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30-45 minutes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57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kern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Renewables Smoothing</a:t>
                      </a:r>
                    </a:p>
                  </a:txBody>
                  <a:tcPr marL="80165" marR="80165" marT="40089" marB="40089" anchor="ctr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Maintains approximate solar curve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rgbClr val="4C4C4C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1 hour +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57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kern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Renewables Firming</a:t>
                      </a:r>
                    </a:p>
                  </a:txBody>
                  <a:tcPr marL="80165" marR="80165" marT="40089" marB="40089" anchor="ctr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Creates Firm committed load shape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rgbClr val="4C4C4C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fi-FI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2 hours +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57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1400" kern="11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Renewables Shifting</a:t>
                      </a:r>
                    </a:p>
                  </a:txBody>
                  <a:tcPr marL="80165" marR="80165" marT="40089" marB="40089" anchor="ctr" horzOverflow="overflow">
                    <a:lnL cap="flat"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50000"/>
                        </a:lnSpc>
                        <a:buClr>
                          <a:schemeClr val="tx1">
                            <a:lumMod val="85000"/>
                            <a:lumOff val="15000"/>
                          </a:schemeClr>
                        </a:buClr>
                        <a:buSzPct val="75000"/>
                        <a:buFont typeface="Arial" charset="0"/>
                        <a:buNone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Shifts solar to evening hours w/ or w/o commit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rgbClr val="4C4C4C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fi-FI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Helvetica Neue Light" charset="0"/>
                          <a:ea typeface="Helvetica Neue Light" charset="0"/>
                          <a:cs typeface="Helvetica Neue Light" charset="0"/>
                        </a:rPr>
                        <a:t>4 hours +</a:t>
                      </a:r>
                    </a:p>
                  </a:txBody>
                  <a:tcPr marL="80165" marR="80165" marT="40089" marB="40089" anchor="ctr" horzOverflow="overflow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7064624" y="3015950"/>
            <a:ext cx="1851998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1300" b="1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enewables Firming</a:t>
            </a:r>
            <a:endParaRPr lang="en-US" sz="1300" dirty="0">
              <a:solidFill>
                <a:schemeClr val="bg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257377" y="3015950"/>
            <a:ext cx="1823018" cy="353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1300" b="1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amp Rate Control</a:t>
            </a:r>
            <a:endParaRPr lang="en-US" sz="1300" dirty="0">
              <a:solidFill>
                <a:schemeClr val="bg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048998" y="3015950"/>
            <a:ext cx="2057481" cy="353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1300" b="1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enewables Smoothing</a:t>
            </a:r>
            <a:endParaRPr lang="en-US" sz="1300" dirty="0">
              <a:solidFill>
                <a:schemeClr val="bg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964122" y="3015950"/>
            <a:ext cx="1909288" cy="353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1300" b="1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Renewables Shifting</a:t>
            </a:r>
            <a:endParaRPr lang="en-US" sz="1300" dirty="0">
              <a:solidFill>
                <a:schemeClr val="bg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303914" y="3015950"/>
            <a:ext cx="1940304" cy="353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1300" b="1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Frequency Response</a:t>
            </a:r>
            <a:endParaRPr lang="en-US" sz="1300" dirty="0">
              <a:solidFill>
                <a:schemeClr val="bg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802594" y="1211282"/>
            <a:ext cx="5771169" cy="429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nergy storage enhances value of PV output through multiple path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375128" y="3586685"/>
            <a:ext cx="24514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00935E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ower-centric application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03863" y="179381"/>
            <a:ext cx="2125011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80"/>
              </a:lnSpc>
            </a:pPr>
            <a:r>
              <a:rPr lang="en-US" sz="1400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Storage Opportunity</a:t>
            </a:r>
          </a:p>
        </p:txBody>
      </p:sp>
    </p:spTree>
    <p:extLst>
      <p:ext uri="{BB962C8B-B14F-4D97-AF65-F5344CB8AC3E}">
        <p14:creationId xmlns:p14="http://schemas.microsoft.com/office/powerpoint/2010/main" val="20383792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ward of 2.4MW/2.4MWh ESS Test Bed for EMA and SP Group announced in Singapore International Energy Week (SIEW) 2017 – 23 October 2017</a:t>
            </a:r>
            <a:br>
              <a:rPr lang="en-US" dirty="0"/>
            </a:b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DDE0D7-47E8-47C2-881C-EEA37653B049}" type="datetime3">
              <a:rPr lang="en-SG" smtClean="0">
                <a:solidFill>
                  <a:srgbClr val="808080"/>
                </a:solidFill>
              </a:rPr>
              <a:pPr/>
              <a:t>2 August 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Singapore CW ESS Test Bed Proje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12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-3600" y="-3599"/>
            <a:ext cx="4371408" cy="408264"/>
          </a:xfrm>
        </p:spPr>
        <p:txBody>
          <a:bodyPr>
            <a:normAutofit/>
          </a:bodyPr>
          <a:lstStyle/>
          <a:p>
            <a:r>
              <a:rPr lang="en-US" dirty="0"/>
              <a:t>Singapore - ESS Test Bed Proje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27632" t="28761" r="16784" b="11561"/>
          <a:stretch/>
        </p:blipFill>
        <p:spPr>
          <a:xfrm>
            <a:off x="7002891" y="1736500"/>
            <a:ext cx="5062500" cy="3055896"/>
          </a:xfrm>
          <a:prstGeom prst="rect">
            <a:avLst/>
          </a:prstGeom>
        </p:spPr>
      </p:pic>
      <p:pic>
        <p:nvPicPr>
          <p:cNvPr id="12" name="Content Placeholder 7"/>
          <p:cNvPicPr>
            <a:picLocks noChangeAspect="1"/>
          </p:cNvPicPr>
          <p:nvPr/>
        </p:nvPicPr>
        <p:blipFill rotWithShape="1">
          <a:blip r:embed="rId4"/>
          <a:srcRect l="10995" t="21450" r="9966" b="5117"/>
          <a:stretch/>
        </p:blipFill>
        <p:spPr>
          <a:xfrm>
            <a:off x="240145" y="1896689"/>
            <a:ext cx="5141942" cy="268588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/>
          <a:srcRect l="13204" t="12189" r="11691" b="5518"/>
          <a:stretch/>
        </p:blipFill>
        <p:spPr>
          <a:xfrm>
            <a:off x="3579338" y="3519373"/>
            <a:ext cx="4886012" cy="3009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3046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>
                <a:solidFill>
                  <a:srgbClr val="808080"/>
                </a:solidFill>
              </a:rPr>
              <a:pPr/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[Presentation name / Author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13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Overview</a:t>
            </a: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/>
          </p:nvPr>
        </p:nvGraphicFramePr>
        <p:xfrm>
          <a:off x="704397" y="2494719"/>
          <a:ext cx="10517188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430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07410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Proj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ingapore’s First Utility-Scale</a:t>
                      </a:r>
                      <a:r>
                        <a:rPr lang="en-US" baseline="0" dirty="0"/>
                        <a:t> Energy Storage System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ystem Siz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.4MW / 2.4M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o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Site A - SP Group Punggol substation</a:t>
                      </a:r>
                      <a:r>
                        <a:rPr lang="en-US" baseline="0" dirty="0"/>
                        <a:t> next to </a:t>
                      </a:r>
                      <a:r>
                        <a:rPr lang="en-GB" dirty="0"/>
                        <a:t>206A Punggol Place, S(821206)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Battery Chemis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Lithium Iron Phospha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Use 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ncillary Servic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co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ull</a:t>
                      </a:r>
                      <a:r>
                        <a:rPr lang="en-US" baseline="0" dirty="0"/>
                        <a:t> </a:t>
                      </a:r>
                      <a:r>
                        <a:rPr lang="en-US" dirty="0"/>
                        <a:t>Turnkey</a:t>
                      </a:r>
                      <a:r>
                        <a:rPr lang="en-US" baseline="0" dirty="0"/>
                        <a:t> EPC by Wärtsilä / Greensmith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-3600" y="-14372"/>
            <a:ext cx="4015257" cy="433553"/>
          </a:xfrm>
        </p:spPr>
        <p:txBody>
          <a:bodyPr/>
          <a:lstStyle/>
          <a:p>
            <a:r>
              <a:rPr lang="en-US" dirty="0"/>
              <a:t>Singapore - ESS Test Bed Project</a:t>
            </a:r>
          </a:p>
        </p:txBody>
      </p:sp>
    </p:spTree>
    <p:extLst>
      <p:ext uri="{BB962C8B-B14F-4D97-AF65-F5344CB8AC3E}">
        <p14:creationId xmlns:p14="http://schemas.microsoft.com/office/powerpoint/2010/main" val="335236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sz="half"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8283" y="1129384"/>
            <a:ext cx="9239263" cy="5726658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9215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648724" y="721556"/>
            <a:ext cx="653100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1500" b="1" dirty="0">
                <a:latin typeface="Arial" charset="0"/>
                <a:ea typeface="Arial" charset="0"/>
                <a:cs typeface="Arial" charset="0"/>
              </a:rPr>
              <a:t>20MW/80MWh</a:t>
            </a:r>
            <a:r>
              <a:rPr lang="en-US" sz="1500" b="1" dirty="0">
                <a:solidFill>
                  <a:srgbClr val="F7964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500" b="1" dirty="0">
                <a:solidFill>
                  <a:srgbClr val="FF882A"/>
                </a:solidFill>
                <a:latin typeface="Arial" charset="0"/>
                <a:ea typeface="Arial" charset="0"/>
                <a:cs typeface="Arial" charset="0"/>
              </a:rPr>
              <a:t>RESOURCE ADEQUACY / FREQ. REGULATION</a:t>
            </a:r>
          </a:p>
        </p:txBody>
      </p:sp>
      <p:sp>
        <p:nvSpPr>
          <p:cNvPr id="10" name="bk object 17"/>
          <p:cNvSpPr/>
          <p:nvPr/>
        </p:nvSpPr>
        <p:spPr>
          <a:xfrm>
            <a:off x="93692" y="190536"/>
            <a:ext cx="12098655" cy="6287135"/>
          </a:xfrm>
          <a:custGeom>
            <a:avLst/>
            <a:gdLst/>
            <a:ahLst/>
            <a:cxnLst/>
            <a:rect l="l" t="t" r="r" b="b"/>
            <a:pathLst>
              <a:path w="12098655" h="6287135">
                <a:moveTo>
                  <a:pt x="0" y="6286500"/>
                </a:moveTo>
                <a:lnTo>
                  <a:pt x="3079559" y="6286512"/>
                </a:lnTo>
                <a:lnTo>
                  <a:pt x="6709092" y="0"/>
                </a:lnTo>
                <a:lnTo>
                  <a:pt x="12098299" y="12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15" name="bk object 18"/>
          <p:cNvSpPr/>
          <p:nvPr/>
        </p:nvSpPr>
        <p:spPr>
          <a:xfrm>
            <a:off x="9552382" y="5715026"/>
            <a:ext cx="2639695" cy="1143000"/>
          </a:xfrm>
          <a:custGeom>
            <a:avLst/>
            <a:gdLst/>
            <a:ahLst/>
            <a:cxnLst/>
            <a:rect l="l" t="t" r="r" b="b"/>
            <a:pathLst>
              <a:path w="2639695" h="1143000">
                <a:moveTo>
                  <a:pt x="659815" y="0"/>
                </a:moveTo>
                <a:lnTo>
                  <a:pt x="0" y="1142847"/>
                </a:lnTo>
                <a:lnTo>
                  <a:pt x="2419654" y="1142974"/>
                </a:lnTo>
                <a:lnTo>
                  <a:pt x="2639618" y="1142974"/>
                </a:lnTo>
                <a:lnTo>
                  <a:pt x="2639618" y="25"/>
                </a:lnTo>
                <a:lnTo>
                  <a:pt x="65981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16" name="bk object 19"/>
          <p:cNvSpPr/>
          <p:nvPr/>
        </p:nvSpPr>
        <p:spPr>
          <a:xfrm>
            <a:off x="10953070" y="6035294"/>
            <a:ext cx="471805" cy="358140"/>
          </a:xfrm>
          <a:custGeom>
            <a:avLst/>
            <a:gdLst/>
            <a:ahLst/>
            <a:cxnLst/>
            <a:rect l="l" t="t" r="r" b="b"/>
            <a:pathLst>
              <a:path w="471804" h="358139">
                <a:moveTo>
                  <a:pt x="327846" y="0"/>
                </a:moveTo>
                <a:lnTo>
                  <a:pt x="281329" y="3860"/>
                </a:lnTo>
                <a:lnTo>
                  <a:pt x="234345" y="14873"/>
                </a:lnTo>
                <a:lnTo>
                  <a:pt x="188197" y="32191"/>
                </a:lnTo>
                <a:lnTo>
                  <a:pt x="144187" y="54964"/>
                </a:lnTo>
                <a:lnTo>
                  <a:pt x="103618" y="82341"/>
                </a:lnTo>
                <a:lnTo>
                  <a:pt x="67794" y="113473"/>
                </a:lnTo>
                <a:lnTo>
                  <a:pt x="38017" y="147510"/>
                </a:lnTo>
                <a:lnTo>
                  <a:pt x="15591" y="183603"/>
                </a:lnTo>
                <a:lnTo>
                  <a:pt x="0" y="230655"/>
                </a:lnTo>
                <a:lnTo>
                  <a:pt x="1200" y="272558"/>
                </a:lnTo>
                <a:lnTo>
                  <a:pt x="17928" y="307784"/>
                </a:lnTo>
                <a:lnTo>
                  <a:pt x="48918" y="334806"/>
                </a:lnTo>
                <a:lnTo>
                  <a:pt x="92905" y="352096"/>
                </a:lnTo>
                <a:lnTo>
                  <a:pt x="148624" y="358127"/>
                </a:lnTo>
                <a:lnTo>
                  <a:pt x="196459" y="354591"/>
                </a:lnTo>
                <a:lnTo>
                  <a:pt x="241975" y="344703"/>
                </a:lnTo>
                <a:lnTo>
                  <a:pt x="284966" y="329290"/>
                </a:lnTo>
                <a:lnTo>
                  <a:pt x="325228" y="309181"/>
                </a:lnTo>
                <a:lnTo>
                  <a:pt x="356048" y="289385"/>
                </a:lnTo>
                <a:lnTo>
                  <a:pt x="300185" y="289385"/>
                </a:lnTo>
                <a:lnTo>
                  <a:pt x="265597" y="288067"/>
                </a:lnTo>
                <a:lnTo>
                  <a:pt x="235661" y="277772"/>
                </a:lnTo>
                <a:lnTo>
                  <a:pt x="211891" y="258816"/>
                </a:lnTo>
                <a:lnTo>
                  <a:pt x="195802" y="231519"/>
                </a:lnTo>
                <a:lnTo>
                  <a:pt x="188910" y="196199"/>
                </a:lnTo>
                <a:lnTo>
                  <a:pt x="192731" y="153174"/>
                </a:lnTo>
                <a:lnTo>
                  <a:pt x="209509" y="107172"/>
                </a:lnTo>
                <a:lnTo>
                  <a:pt x="237918" y="67511"/>
                </a:lnTo>
                <a:lnTo>
                  <a:pt x="275126" y="36522"/>
                </a:lnTo>
                <a:lnTo>
                  <a:pt x="318305" y="16539"/>
                </a:lnTo>
                <a:lnTo>
                  <a:pt x="364625" y="9893"/>
                </a:lnTo>
                <a:lnTo>
                  <a:pt x="398658" y="9893"/>
                </a:lnTo>
                <a:lnTo>
                  <a:pt x="392331" y="7120"/>
                </a:lnTo>
                <a:lnTo>
                  <a:pt x="327846" y="0"/>
                </a:lnTo>
                <a:close/>
              </a:path>
              <a:path w="471804" h="358139">
                <a:moveTo>
                  <a:pt x="454744" y="198513"/>
                </a:moveTo>
                <a:lnTo>
                  <a:pt x="416703" y="236289"/>
                </a:lnTo>
                <a:lnTo>
                  <a:pt x="377253" y="263814"/>
                </a:lnTo>
                <a:lnTo>
                  <a:pt x="337908" y="281407"/>
                </a:lnTo>
                <a:lnTo>
                  <a:pt x="300185" y="289385"/>
                </a:lnTo>
                <a:lnTo>
                  <a:pt x="356048" y="289385"/>
                </a:lnTo>
                <a:lnTo>
                  <a:pt x="396744" y="258190"/>
                </a:lnTo>
                <a:lnTo>
                  <a:pt x="427506" y="229033"/>
                </a:lnTo>
                <a:lnTo>
                  <a:pt x="441581" y="213894"/>
                </a:lnTo>
                <a:lnTo>
                  <a:pt x="454744" y="198513"/>
                </a:lnTo>
                <a:close/>
              </a:path>
              <a:path w="471804" h="358139">
                <a:moveTo>
                  <a:pt x="398658" y="9893"/>
                </a:moveTo>
                <a:lnTo>
                  <a:pt x="364625" y="9893"/>
                </a:lnTo>
                <a:lnTo>
                  <a:pt x="398168" y="14691"/>
                </a:lnTo>
                <a:lnTo>
                  <a:pt x="426435" y="27190"/>
                </a:lnTo>
                <a:lnTo>
                  <a:pt x="465260" y="71119"/>
                </a:lnTo>
                <a:lnTo>
                  <a:pt x="469197" y="80619"/>
                </a:lnTo>
                <a:lnTo>
                  <a:pt x="469451" y="81267"/>
                </a:lnTo>
                <a:lnTo>
                  <a:pt x="471420" y="80530"/>
                </a:lnTo>
                <a:lnTo>
                  <a:pt x="471153" y="79324"/>
                </a:lnTo>
                <a:lnTo>
                  <a:pt x="470518" y="77317"/>
                </a:lnTo>
                <a:lnTo>
                  <a:pt x="469819" y="75234"/>
                </a:lnTo>
                <a:lnTo>
                  <a:pt x="457669" y="49575"/>
                </a:lnTo>
                <a:lnTo>
                  <a:pt x="433723" y="25258"/>
                </a:lnTo>
                <a:lnTo>
                  <a:pt x="398658" y="9893"/>
                </a:lnTo>
                <a:close/>
              </a:path>
            </a:pathLst>
          </a:custGeom>
          <a:solidFill>
            <a:srgbClr val="0077B1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17" name="bk object 20"/>
          <p:cNvSpPr/>
          <p:nvPr/>
        </p:nvSpPr>
        <p:spPr>
          <a:xfrm>
            <a:off x="11141977" y="5903365"/>
            <a:ext cx="352425" cy="421640"/>
          </a:xfrm>
          <a:custGeom>
            <a:avLst/>
            <a:gdLst/>
            <a:ahLst/>
            <a:cxnLst/>
            <a:rect l="l" t="t" r="r" b="b"/>
            <a:pathLst>
              <a:path w="352425" h="421639">
                <a:moveTo>
                  <a:pt x="3829" y="285082"/>
                </a:moveTo>
                <a:lnTo>
                  <a:pt x="0" y="328094"/>
                </a:lnTo>
                <a:lnTo>
                  <a:pt x="22929" y="390676"/>
                </a:lnTo>
                <a:lnTo>
                  <a:pt x="76540" y="419959"/>
                </a:lnTo>
                <a:lnTo>
                  <a:pt x="111074" y="421321"/>
                </a:lnTo>
                <a:lnTo>
                  <a:pt x="148746" y="413407"/>
                </a:lnTo>
                <a:lnTo>
                  <a:pt x="188046" y="395900"/>
                </a:lnTo>
                <a:lnTo>
                  <a:pt x="212839" y="378656"/>
                </a:lnTo>
                <a:lnTo>
                  <a:pt x="84347" y="378656"/>
                </a:lnTo>
                <a:lnTo>
                  <a:pt x="40635" y="370625"/>
                </a:lnTo>
                <a:lnTo>
                  <a:pt x="13994" y="349443"/>
                </a:lnTo>
                <a:lnTo>
                  <a:pt x="2399" y="319473"/>
                </a:lnTo>
                <a:lnTo>
                  <a:pt x="3829" y="285082"/>
                </a:lnTo>
                <a:close/>
              </a:path>
              <a:path w="352425" h="421639">
                <a:moveTo>
                  <a:pt x="259119" y="4096"/>
                </a:moveTo>
                <a:lnTo>
                  <a:pt x="222449" y="4096"/>
                </a:lnTo>
                <a:lnTo>
                  <a:pt x="248007" y="5792"/>
                </a:lnTo>
                <a:lnTo>
                  <a:pt x="276244" y="13510"/>
                </a:lnTo>
                <a:lnTo>
                  <a:pt x="304451" y="29533"/>
                </a:lnTo>
                <a:lnTo>
                  <a:pt x="328494" y="64223"/>
                </a:lnTo>
                <a:lnTo>
                  <a:pt x="337271" y="111183"/>
                </a:lnTo>
                <a:lnTo>
                  <a:pt x="331365" y="164869"/>
                </a:lnTo>
                <a:lnTo>
                  <a:pt x="311359" y="219741"/>
                </a:lnTo>
                <a:lnTo>
                  <a:pt x="286239" y="259871"/>
                </a:lnTo>
                <a:lnTo>
                  <a:pt x="253201" y="297240"/>
                </a:lnTo>
                <a:lnTo>
                  <a:pt x="214370" y="329826"/>
                </a:lnTo>
                <a:lnTo>
                  <a:pt x="171867" y="355605"/>
                </a:lnTo>
                <a:lnTo>
                  <a:pt x="127819" y="372556"/>
                </a:lnTo>
                <a:lnTo>
                  <a:pt x="84347" y="378656"/>
                </a:lnTo>
                <a:lnTo>
                  <a:pt x="212839" y="378656"/>
                </a:lnTo>
                <a:lnTo>
                  <a:pt x="265487" y="330840"/>
                </a:lnTo>
                <a:lnTo>
                  <a:pt x="295665" y="289986"/>
                </a:lnTo>
                <a:lnTo>
                  <a:pt x="318929" y="250017"/>
                </a:lnTo>
                <a:lnTo>
                  <a:pt x="342466" y="191056"/>
                </a:lnTo>
                <a:lnTo>
                  <a:pt x="352232" y="136344"/>
                </a:lnTo>
                <a:lnTo>
                  <a:pt x="348377" y="88155"/>
                </a:lnTo>
                <a:lnTo>
                  <a:pt x="331050" y="48762"/>
                </a:lnTo>
                <a:lnTo>
                  <a:pt x="300399" y="20440"/>
                </a:lnTo>
                <a:lnTo>
                  <a:pt x="277874" y="9397"/>
                </a:lnTo>
                <a:lnTo>
                  <a:pt x="259119" y="4096"/>
                </a:lnTo>
                <a:close/>
              </a:path>
              <a:path w="352425" h="421639">
                <a:moveTo>
                  <a:pt x="227622" y="0"/>
                </a:moveTo>
                <a:lnTo>
                  <a:pt x="182603" y="7406"/>
                </a:lnTo>
                <a:lnTo>
                  <a:pt x="144837" y="32593"/>
                </a:lnTo>
                <a:lnTo>
                  <a:pt x="144253" y="33940"/>
                </a:lnTo>
                <a:lnTo>
                  <a:pt x="147491" y="35565"/>
                </a:lnTo>
                <a:lnTo>
                  <a:pt x="147936" y="35006"/>
                </a:lnTo>
                <a:lnTo>
                  <a:pt x="148190" y="34460"/>
                </a:lnTo>
                <a:lnTo>
                  <a:pt x="155864" y="25694"/>
                </a:lnTo>
                <a:lnTo>
                  <a:pt x="168229" y="17638"/>
                </a:lnTo>
                <a:lnTo>
                  <a:pt x="184096" y="10913"/>
                </a:lnTo>
                <a:lnTo>
                  <a:pt x="202279" y="6139"/>
                </a:lnTo>
                <a:lnTo>
                  <a:pt x="222449" y="4096"/>
                </a:lnTo>
                <a:lnTo>
                  <a:pt x="259119" y="4096"/>
                </a:lnTo>
                <a:lnTo>
                  <a:pt x="253336" y="2461"/>
                </a:lnTo>
                <a:lnTo>
                  <a:pt x="227622" y="0"/>
                </a:lnTo>
                <a:close/>
              </a:path>
            </a:pathLst>
          </a:custGeom>
          <a:solidFill>
            <a:srgbClr val="EC7C00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18" name="bk object 21"/>
          <p:cNvSpPr/>
          <p:nvPr/>
        </p:nvSpPr>
        <p:spPr>
          <a:xfrm>
            <a:off x="11538632" y="6442327"/>
            <a:ext cx="31750" cy="20955"/>
          </a:xfrm>
          <a:custGeom>
            <a:avLst/>
            <a:gdLst/>
            <a:ahLst/>
            <a:cxnLst/>
            <a:rect l="l" t="t" r="r" b="b"/>
            <a:pathLst>
              <a:path w="31750" h="20954">
                <a:moveTo>
                  <a:pt x="31483" y="0"/>
                </a:moveTo>
                <a:lnTo>
                  <a:pt x="7213" y="0"/>
                </a:lnTo>
                <a:lnTo>
                  <a:pt x="0" y="15468"/>
                </a:lnTo>
                <a:lnTo>
                  <a:pt x="2870" y="20459"/>
                </a:lnTo>
                <a:lnTo>
                  <a:pt x="23228" y="20459"/>
                </a:lnTo>
                <a:lnTo>
                  <a:pt x="31483" y="0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19" name="bk object 22"/>
          <p:cNvSpPr/>
          <p:nvPr/>
        </p:nvSpPr>
        <p:spPr>
          <a:xfrm>
            <a:off x="11580094" y="6442327"/>
            <a:ext cx="31750" cy="20955"/>
          </a:xfrm>
          <a:custGeom>
            <a:avLst/>
            <a:gdLst/>
            <a:ahLst/>
            <a:cxnLst/>
            <a:rect l="l" t="t" r="r" b="b"/>
            <a:pathLst>
              <a:path w="31750" h="20954">
                <a:moveTo>
                  <a:pt x="31483" y="0"/>
                </a:moveTo>
                <a:lnTo>
                  <a:pt x="7213" y="0"/>
                </a:lnTo>
                <a:lnTo>
                  <a:pt x="0" y="15468"/>
                </a:lnTo>
                <a:lnTo>
                  <a:pt x="2870" y="20459"/>
                </a:lnTo>
                <a:lnTo>
                  <a:pt x="23228" y="20459"/>
                </a:lnTo>
                <a:lnTo>
                  <a:pt x="31483" y="0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0" name="bk object 23"/>
          <p:cNvSpPr/>
          <p:nvPr/>
        </p:nvSpPr>
        <p:spPr>
          <a:xfrm>
            <a:off x="11479097" y="6481229"/>
            <a:ext cx="187325" cy="188595"/>
          </a:xfrm>
          <a:custGeom>
            <a:avLst/>
            <a:gdLst/>
            <a:ahLst/>
            <a:cxnLst/>
            <a:rect l="l" t="t" r="r" b="b"/>
            <a:pathLst>
              <a:path w="187325" h="188595">
                <a:moveTo>
                  <a:pt x="107251" y="0"/>
                </a:moveTo>
                <a:lnTo>
                  <a:pt x="57937" y="0"/>
                </a:lnTo>
                <a:lnTo>
                  <a:pt x="55803" y="3657"/>
                </a:lnTo>
                <a:lnTo>
                  <a:pt x="64325" y="10782"/>
                </a:lnTo>
                <a:lnTo>
                  <a:pt x="65976" y="17170"/>
                </a:lnTo>
                <a:lnTo>
                  <a:pt x="0" y="188404"/>
                </a:lnTo>
                <a:lnTo>
                  <a:pt x="44856" y="188404"/>
                </a:lnTo>
                <a:lnTo>
                  <a:pt x="46990" y="184696"/>
                </a:lnTo>
                <a:lnTo>
                  <a:pt x="35877" y="175437"/>
                </a:lnTo>
                <a:lnTo>
                  <a:pt x="33769" y="167373"/>
                </a:lnTo>
                <a:lnTo>
                  <a:pt x="43561" y="141516"/>
                </a:lnTo>
                <a:lnTo>
                  <a:pt x="115963" y="141516"/>
                </a:lnTo>
                <a:lnTo>
                  <a:pt x="117386" y="139039"/>
                </a:lnTo>
                <a:lnTo>
                  <a:pt x="110096" y="119367"/>
                </a:lnTo>
                <a:lnTo>
                  <a:pt x="51943" y="119367"/>
                </a:lnTo>
                <a:lnTo>
                  <a:pt x="87960" y="24295"/>
                </a:lnTo>
                <a:lnTo>
                  <a:pt x="117564" y="24295"/>
                </a:lnTo>
                <a:lnTo>
                  <a:pt x="107251" y="0"/>
                </a:lnTo>
                <a:close/>
              </a:path>
              <a:path w="187325" h="188595">
                <a:moveTo>
                  <a:pt x="117564" y="24295"/>
                </a:moveTo>
                <a:lnTo>
                  <a:pt x="87960" y="24295"/>
                </a:lnTo>
                <a:lnTo>
                  <a:pt x="152577" y="188404"/>
                </a:lnTo>
                <a:lnTo>
                  <a:pt x="187223" y="188404"/>
                </a:lnTo>
                <a:lnTo>
                  <a:pt x="117564" y="24295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1" name="bk object 24"/>
          <p:cNvSpPr/>
          <p:nvPr/>
        </p:nvSpPr>
        <p:spPr>
          <a:xfrm>
            <a:off x="11268779" y="6481235"/>
            <a:ext cx="61594" cy="188595"/>
          </a:xfrm>
          <a:custGeom>
            <a:avLst/>
            <a:gdLst/>
            <a:ahLst/>
            <a:cxnLst/>
            <a:rect l="l" t="t" r="r" b="b"/>
            <a:pathLst>
              <a:path w="61595" h="188595">
                <a:moveTo>
                  <a:pt x="45072" y="0"/>
                </a:moveTo>
                <a:lnTo>
                  <a:pt x="2133" y="0"/>
                </a:lnTo>
                <a:lnTo>
                  <a:pt x="0" y="3657"/>
                </a:lnTo>
                <a:lnTo>
                  <a:pt x="13576" y="14985"/>
                </a:lnTo>
                <a:lnTo>
                  <a:pt x="16370" y="20980"/>
                </a:lnTo>
                <a:lnTo>
                  <a:pt x="16370" y="188404"/>
                </a:lnTo>
                <a:lnTo>
                  <a:pt x="59207" y="188404"/>
                </a:lnTo>
                <a:lnTo>
                  <a:pt x="61340" y="184696"/>
                </a:lnTo>
                <a:lnTo>
                  <a:pt x="47878" y="173456"/>
                </a:lnTo>
                <a:lnTo>
                  <a:pt x="45072" y="167462"/>
                </a:lnTo>
                <a:lnTo>
                  <a:pt x="45072" y="0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2" name="bk object 25"/>
          <p:cNvSpPr/>
          <p:nvPr/>
        </p:nvSpPr>
        <p:spPr>
          <a:xfrm>
            <a:off x="11119550" y="6476390"/>
            <a:ext cx="138430" cy="198120"/>
          </a:xfrm>
          <a:custGeom>
            <a:avLst/>
            <a:gdLst/>
            <a:ahLst/>
            <a:cxnLst/>
            <a:rect l="l" t="t" r="r" b="b"/>
            <a:pathLst>
              <a:path w="138429" h="198120">
                <a:moveTo>
                  <a:pt x="5232" y="156730"/>
                </a:moveTo>
                <a:lnTo>
                  <a:pt x="22583" y="193551"/>
                </a:lnTo>
                <a:lnTo>
                  <a:pt x="59512" y="197802"/>
                </a:lnTo>
                <a:lnTo>
                  <a:pt x="93602" y="192322"/>
                </a:lnTo>
                <a:lnTo>
                  <a:pt x="118230" y="178384"/>
                </a:lnTo>
                <a:lnTo>
                  <a:pt x="119462" y="176847"/>
                </a:lnTo>
                <a:lnTo>
                  <a:pt x="62014" y="176847"/>
                </a:lnTo>
                <a:lnTo>
                  <a:pt x="45260" y="174884"/>
                </a:lnTo>
                <a:lnTo>
                  <a:pt x="29370" y="169937"/>
                </a:lnTo>
                <a:lnTo>
                  <a:pt x="15606" y="163415"/>
                </a:lnTo>
                <a:lnTo>
                  <a:pt x="5232" y="156730"/>
                </a:lnTo>
                <a:close/>
              </a:path>
              <a:path w="138429" h="198120">
                <a:moveTo>
                  <a:pt x="74358" y="0"/>
                </a:moveTo>
                <a:lnTo>
                  <a:pt x="29032" y="10363"/>
                </a:lnTo>
                <a:lnTo>
                  <a:pt x="4813" y="50520"/>
                </a:lnTo>
                <a:lnTo>
                  <a:pt x="7906" y="67534"/>
                </a:lnTo>
                <a:lnTo>
                  <a:pt x="40335" y="95821"/>
                </a:lnTo>
                <a:lnTo>
                  <a:pt x="65011" y="108077"/>
                </a:lnTo>
                <a:lnTo>
                  <a:pt x="79287" y="114704"/>
                </a:lnTo>
                <a:lnTo>
                  <a:pt x="92060" y="122602"/>
                </a:lnTo>
                <a:lnTo>
                  <a:pt x="101249" y="132315"/>
                </a:lnTo>
                <a:lnTo>
                  <a:pt x="104774" y="144386"/>
                </a:lnTo>
                <a:lnTo>
                  <a:pt x="100943" y="157248"/>
                </a:lnTo>
                <a:lnTo>
                  <a:pt x="90995" y="167541"/>
                </a:lnTo>
                <a:lnTo>
                  <a:pt x="77246" y="174372"/>
                </a:lnTo>
                <a:lnTo>
                  <a:pt x="62014" y="176847"/>
                </a:lnTo>
                <a:lnTo>
                  <a:pt x="119462" y="176847"/>
                </a:lnTo>
                <a:lnTo>
                  <a:pt x="133171" y="159740"/>
                </a:lnTo>
                <a:lnTo>
                  <a:pt x="138201" y="140144"/>
                </a:lnTo>
                <a:lnTo>
                  <a:pt x="135016" y="123636"/>
                </a:lnTo>
                <a:lnTo>
                  <a:pt x="92341" y="88455"/>
                </a:lnTo>
                <a:lnTo>
                  <a:pt x="80441" y="84048"/>
                </a:lnTo>
                <a:lnTo>
                  <a:pt x="75717" y="81851"/>
                </a:lnTo>
                <a:lnTo>
                  <a:pt x="58963" y="73391"/>
                </a:lnTo>
                <a:lnTo>
                  <a:pt x="46672" y="65233"/>
                </a:lnTo>
                <a:lnTo>
                  <a:pt x="39105" y="56694"/>
                </a:lnTo>
                <a:lnTo>
                  <a:pt x="36525" y="47091"/>
                </a:lnTo>
                <a:lnTo>
                  <a:pt x="38899" y="35719"/>
                </a:lnTo>
                <a:lnTo>
                  <a:pt x="45851" y="27430"/>
                </a:lnTo>
                <a:lnTo>
                  <a:pt x="57125" y="22358"/>
                </a:lnTo>
                <a:lnTo>
                  <a:pt x="72466" y="20637"/>
                </a:lnTo>
                <a:lnTo>
                  <a:pt x="121462" y="20637"/>
                </a:lnTo>
                <a:lnTo>
                  <a:pt x="121462" y="6540"/>
                </a:lnTo>
                <a:lnTo>
                  <a:pt x="120522" y="6248"/>
                </a:lnTo>
                <a:lnTo>
                  <a:pt x="116912" y="5245"/>
                </a:lnTo>
                <a:lnTo>
                  <a:pt x="107189" y="3100"/>
                </a:lnTo>
                <a:lnTo>
                  <a:pt x="92592" y="967"/>
                </a:lnTo>
                <a:lnTo>
                  <a:pt x="74358" y="0"/>
                </a:lnTo>
                <a:close/>
              </a:path>
              <a:path w="138429" h="198120">
                <a:moveTo>
                  <a:pt x="121462" y="20637"/>
                </a:moveTo>
                <a:lnTo>
                  <a:pt x="72466" y="20637"/>
                </a:lnTo>
                <a:lnTo>
                  <a:pt x="85514" y="22188"/>
                </a:lnTo>
                <a:lnTo>
                  <a:pt x="98297" y="25939"/>
                </a:lnTo>
                <a:lnTo>
                  <a:pt x="109195" y="30538"/>
                </a:lnTo>
                <a:lnTo>
                  <a:pt x="116585" y="34632"/>
                </a:lnTo>
                <a:lnTo>
                  <a:pt x="121462" y="30695"/>
                </a:lnTo>
                <a:lnTo>
                  <a:pt x="121462" y="20637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3" name="bk object 26"/>
          <p:cNvSpPr/>
          <p:nvPr/>
        </p:nvSpPr>
        <p:spPr>
          <a:xfrm>
            <a:off x="11340539" y="6481229"/>
            <a:ext cx="127000" cy="188595"/>
          </a:xfrm>
          <a:custGeom>
            <a:avLst/>
            <a:gdLst/>
            <a:ahLst/>
            <a:cxnLst/>
            <a:rect l="l" t="t" r="r" b="b"/>
            <a:pathLst>
              <a:path w="127000" h="188595">
                <a:moveTo>
                  <a:pt x="45072" y="0"/>
                </a:moveTo>
                <a:lnTo>
                  <a:pt x="2120" y="0"/>
                </a:lnTo>
                <a:lnTo>
                  <a:pt x="0" y="3657"/>
                </a:lnTo>
                <a:lnTo>
                  <a:pt x="13576" y="14998"/>
                </a:lnTo>
                <a:lnTo>
                  <a:pt x="16370" y="20980"/>
                </a:lnTo>
                <a:lnTo>
                  <a:pt x="16370" y="188404"/>
                </a:lnTo>
                <a:lnTo>
                  <a:pt x="117805" y="188404"/>
                </a:lnTo>
                <a:lnTo>
                  <a:pt x="126669" y="164909"/>
                </a:lnTo>
                <a:lnTo>
                  <a:pt x="45072" y="164909"/>
                </a:lnTo>
                <a:lnTo>
                  <a:pt x="45072" y="0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4" name="bk object 27"/>
          <p:cNvSpPr/>
          <p:nvPr/>
        </p:nvSpPr>
        <p:spPr>
          <a:xfrm>
            <a:off x="10820083" y="6481229"/>
            <a:ext cx="149860" cy="188595"/>
          </a:xfrm>
          <a:custGeom>
            <a:avLst/>
            <a:gdLst/>
            <a:ahLst/>
            <a:cxnLst/>
            <a:rect l="l" t="t" r="r" b="b"/>
            <a:pathLst>
              <a:path w="149859" h="188595">
                <a:moveTo>
                  <a:pt x="130161" y="19862"/>
                </a:moveTo>
                <a:lnTo>
                  <a:pt x="75717" y="19862"/>
                </a:lnTo>
                <a:lnTo>
                  <a:pt x="90884" y="22581"/>
                </a:lnTo>
                <a:lnTo>
                  <a:pt x="101801" y="29467"/>
                </a:lnTo>
                <a:lnTo>
                  <a:pt x="108401" y="38615"/>
                </a:lnTo>
                <a:lnTo>
                  <a:pt x="110616" y="48120"/>
                </a:lnTo>
                <a:lnTo>
                  <a:pt x="105864" y="68150"/>
                </a:lnTo>
                <a:lnTo>
                  <a:pt x="93681" y="80925"/>
                </a:lnTo>
                <a:lnTo>
                  <a:pt x="77184" y="88112"/>
                </a:lnTo>
                <a:lnTo>
                  <a:pt x="59258" y="91427"/>
                </a:lnTo>
                <a:lnTo>
                  <a:pt x="57213" y="94957"/>
                </a:lnTo>
                <a:lnTo>
                  <a:pt x="108623" y="188404"/>
                </a:lnTo>
                <a:lnTo>
                  <a:pt x="147612" y="188404"/>
                </a:lnTo>
                <a:lnTo>
                  <a:pt x="149745" y="184696"/>
                </a:lnTo>
                <a:lnTo>
                  <a:pt x="141795" y="179323"/>
                </a:lnTo>
                <a:lnTo>
                  <a:pt x="137319" y="175772"/>
                </a:lnTo>
                <a:lnTo>
                  <a:pt x="132737" y="170670"/>
                </a:lnTo>
                <a:lnTo>
                  <a:pt x="127997" y="164084"/>
                </a:lnTo>
                <a:lnTo>
                  <a:pt x="123050" y="156082"/>
                </a:lnTo>
                <a:lnTo>
                  <a:pt x="89674" y="99225"/>
                </a:lnTo>
                <a:lnTo>
                  <a:pt x="90449" y="97612"/>
                </a:lnTo>
                <a:lnTo>
                  <a:pt x="110454" y="89838"/>
                </a:lnTo>
                <a:lnTo>
                  <a:pt x="126282" y="77452"/>
                </a:lnTo>
                <a:lnTo>
                  <a:pt x="136690" y="62259"/>
                </a:lnTo>
                <a:lnTo>
                  <a:pt x="140436" y="46062"/>
                </a:lnTo>
                <a:lnTo>
                  <a:pt x="136739" y="28653"/>
                </a:lnTo>
                <a:lnTo>
                  <a:pt x="130161" y="19862"/>
                </a:lnTo>
                <a:close/>
              </a:path>
              <a:path w="149859" h="188595">
                <a:moveTo>
                  <a:pt x="82372" y="0"/>
                </a:moveTo>
                <a:lnTo>
                  <a:pt x="2133" y="0"/>
                </a:lnTo>
                <a:lnTo>
                  <a:pt x="0" y="3657"/>
                </a:lnTo>
                <a:lnTo>
                  <a:pt x="15811" y="16865"/>
                </a:lnTo>
                <a:lnTo>
                  <a:pt x="15811" y="105282"/>
                </a:lnTo>
                <a:lnTo>
                  <a:pt x="39433" y="159169"/>
                </a:lnTo>
                <a:lnTo>
                  <a:pt x="42887" y="159169"/>
                </a:lnTo>
                <a:lnTo>
                  <a:pt x="42887" y="19862"/>
                </a:lnTo>
                <a:lnTo>
                  <a:pt x="130161" y="19862"/>
                </a:lnTo>
                <a:lnTo>
                  <a:pt x="125739" y="13954"/>
                </a:lnTo>
                <a:lnTo>
                  <a:pt x="107571" y="3793"/>
                </a:lnTo>
                <a:lnTo>
                  <a:pt x="82372" y="0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5" name="bk object 28"/>
          <p:cNvSpPr/>
          <p:nvPr/>
        </p:nvSpPr>
        <p:spPr>
          <a:xfrm>
            <a:off x="10714918" y="6442327"/>
            <a:ext cx="31750" cy="20955"/>
          </a:xfrm>
          <a:custGeom>
            <a:avLst/>
            <a:gdLst/>
            <a:ahLst/>
            <a:cxnLst/>
            <a:rect l="l" t="t" r="r" b="b"/>
            <a:pathLst>
              <a:path w="31750" h="20954">
                <a:moveTo>
                  <a:pt x="31496" y="0"/>
                </a:moveTo>
                <a:lnTo>
                  <a:pt x="7226" y="0"/>
                </a:lnTo>
                <a:lnTo>
                  <a:pt x="0" y="15468"/>
                </a:lnTo>
                <a:lnTo>
                  <a:pt x="2870" y="20459"/>
                </a:lnTo>
                <a:lnTo>
                  <a:pt x="23241" y="20459"/>
                </a:lnTo>
                <a:lnTo>
                  <a:pt x="31496" y="0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6" name="bk object 29"/>
          <p:cNvSpPr/>
          <p:nvPr/>
        </p:nvSpPr>
        <p:spPr>
          <a:xfrm>
            <a:off x="10756380" y="6442327"/>
            <a:ext cx="31750" cy="20955"/>
          </a:xfrm>
          <a:custGeom>
            <a:avLst/>
            <a:gdLst/>
            <a:ahLst/>
            <a:cxnLst/>
            <a:rect l="l" t="t" r="r" b="b"/>
            <a:pathLst>
              <a:path w="31750" h="20954">
                <a:moveTo>
                  <a:pt x="31495" y="0"/>
                </a:moveTo>
                <a:lnTo>
                  <a:pt x="7213" y="0"/>
                </a:lnTo>
                <a:lnTo>
                  <a:pt x="0" y="15468"/>
                </a:lnTo>
                <a:lnTo>
                  <a:pt x="2870" y="20459"/>
                </a:lnTo>
                <a:lnTo>
                  <a:pt x="23228" y="20459"/>
                </a:lnTo>
                <a:lnTo>
                  <a:pt x="31495" y="0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7" name="bk object 30"/>
          <p:cNvSpPr/>
          <p:nvPr/>
        </p:nvSpPr>
        <p:spPr>
          <a:xfrm>
            <a:off x="10655381" y="6481229"/>
            <a:ext cx="187325" cy="188595"/>
          </a:xfrm>
          <a:custGeom>
            <a:avLst/>
            <a:gdLst/>
            <a:ahLst/>
            <a:cxnLst/>
            <a:rect l="l" t="t" r="r" b="b"/>
            <a:pathLst>
              <a:path w="187325" h="188595">
                <a:moveTo>
                  <a:pt x="107251" y="0"/>
                </a:moveTo>
                <a:lnTo>
                  <a:pt x="57937" y="0"/>
                </a:lnTo>
                <a:lnTo>
                  <a:pt x="55803" y="3657"/>
                </a:lnTo>
                <a:lnTo>
                  <a:pt x="64325" y="10782"/>
                </a:lnTo>
                <a:lnTo>
                  <a:pt x="65989" y="17170"/>
                </a:lnTo>
                <a:lnTo>
                  <a:pt x="0" y="188391"/>
                </a:lnTo>
                <a:lnTo>
                  <a:pt x="44856" y="188391"/>
                </a:lnTo>
                <a:lnTo>
                  <a:pt x="46990" y="184696"/>
                </a:lnTo>
                <a:lnTo>
                  <a:pt x="35890" y="175425"/>
                </a:lnTo>
                <a:lnTo>
                  <a:pt x="33769" y="167373"/>
                </a:lnTo>
                <a:lnTo>
                  <a:pt x="43561" y="141516"/>
                </a:lnTo>
                <a:lnTo>
                  <a:pt x="115963" y="141516"/>
                </a:lnTo>
                <a:lnTo>
                  <a:pt x="117398" y="139039"/>
                </a:lnTo>
                <a:lnTo>
                  <a:pt x="110096" y="119367"/>
                </a:lnTo>
                <a:lnTo>
                  <a:pt x="51943" y="119367"/>
                </a:lnTo>
                <a:lnTo>
                  <a:pt x="87960" y="24295"/>
                </a:lnTo>
                <a:lnTo>
                  <a:pt x="117564" y="24295"/>
                </a:lnTo>
                <a:lnTo>
                  <a:pt x="107251" y="0"/>
                </a:lnTo>
                <a:close/>
              </a:path>
              <a:path w="187325" h="188595">
                <a:moveTo>
                  <a:pt x="117564" y="24295"/>
                </a:moveTo>
                <a:lnTo>
                  <a:pt x="87960" y="24295"/>
                </a:lnTo>
                <a:lnTo>
                  <a:pt x="152577" y="188391"/>
                </a:lnTo>
                <a:lnTo>
                  <a:pt x="187223" y="188391"/>
                </a:lnTo>
                <a:lnTo>
                  <a:pt x="117564" y="24295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8" name="bk object 31"/>
          <p:cNvSpPr/>
          <p:nvPr/>
        </p:nvSpPr>
        <p:spPr>
          <a:xfrm>
            <a:off x="10974462" y="6481229"/>
            <a:ext cx="143510" cy="188595"/>
          </a:xfrm>
          <a:custGeom>
            <a:avLst/>
            <a:gdLst/>
            <a:ahLst/>
            <a:cxnLst/>
            <a:rect l="l" t="t" r="r" b="b"/>
            <a:pathLst>
              <a:path w="143509" h="188595">
                <a:moveTo>
                  <a:pt x="84594" y="23266"/>
                </a:moveTo>
                <a:lnTo>
                  <a:pt x="55892" y="23266"/>
                </a:lnTo>
                <a:lnTo>
                  <a:pt x="55892" y="188404"/>
                </a:lnTo>
                <a:lnTo>
                  <a:pt x="98920" y="188404"/>
                </a:lnTo>
                <a:lnTo>
                  <a:pt x="101053" y="184696"/>
                </a:lnTo>
                <a:lnTo>
                  <a:pt x="87401" y="173304"/>
                </a:lnTo>
                <a:lnTo>
                  <a:pt x="84594" y="167309"/>
                </a:lnTo>
                <a:lnTo>
                  <a:pt x="84594" y="23266"/>
                </a:lnTo>
                <a:close/>
              </a:path>
              <a:path w="143509" h="188595">
                <a:moveTo>
                  <a:pt x="143344" y="0"/>
                </a:moveTo>
                <a:lnTo>
                  <a:pt x="11645" y="0"/>
                </a:lnTo>
                <a:lnTo>
                  <a:pt x="0" y="20193"/>
                </a:lnTo>
                <a:lnTo>
                  <a:pt x="1778" y="23266"/>
                </a:lnTo>
                <a:lnTo>
                  <a:pt x="129844" y="23266"/>
                </a:lnTo>
                <a:lnTo>
                  <a:pt x="143344" y="0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29" name="bk object 32"/>
          <p:cNvSpPr/>
          <p:nvPr/>
        </p:nvSpPr>
        <p:spPr>
          <a:xfrm>
            <a:off x="10399547" y="6481229"/>
            <a:ext cx="287655" cy="188595"/>
          </a:xfrm>
          <a:custGeom>
            <a:avLst/>
            <a:gdLst/>
            <a:ahLst/>
            <a:cxnLst/>
            <a:rect l="l" t="t" r="r" b="b"/>
            <a:pathLst>
              <a:path w="287654" h="188595">
                <a:moveTo>
                  <a:pt x="40551" y="0"/>
                </a:moveTo>
                <a:lnTo>
                  <a:pt x="2133" y="0"/>
                </a:lnTo>
                <a:lnTo>
                  <a:pt x="0" y="3657"/>
                </a:lnTo>
                <a:lnTo>
                  <a:pt x="4444" y="5918"/>
                </a:lnTo>
                <a:lnTo>
                  <a:pt x="11404" y="8483"/>
                </a:lnTo>
                <a:lnTo>
                  <a:pt x="15443" y="15189"/>
                </a:lnTo>
                <a:lnTo>
                  <a:pt x="17957" y="23799"/>
                </a:lnTo>
                <a:lnTo>
                  <a:pt x="72351" y="188391"/>
                </a:lnTo>
                <a:lnTo>
                  <a:pt x="97091" y="188391"/>
                </a:lnTo>
                <a:lnTo>
                  <a:pt x="113472" y="144538"/>
                </a:lnTo>
                <a:lnTo>
                  <a:pt x="88976" y="144538"/>
                </a:lnTo>
                <a:lnTo>
                  <a:pt x="40551" y="0"/>
                </a:lnTo>
                <a:close/>
              </a:path>
              <a:path w="287654" h="188595">
                <a:moveTo>
                  <a:pt x="177761" y="53555"/>
                </a:moveTo>
                <a:lnTo>
                  <a:pt x="147459" y="53555"/>
                </a:lnTo>
                <a:lnTo>
                  <a:pt x="192150" y="188391"/>
                </a:lnTo>
                <a:lnTo>
                  <a:pt x="216852" y="188391"/>
                </a:lnTo>
                <a:lnTo>
                  <a:pt x="232547" y="146291"/>
                </a:lnTo>
                <a:lnTo>
                  <a:pt x="207975" y="146291"/>
                </a:lnTo>
                <a:lnTo>
                  <a:pt x="177761" y="53555"/>
                </a:lnTo>
                <a:close/>
              </a:path>
              <a:path w="287654" h="188595">
                <a:moveTo>
                  <a:pt x="287083" y="0"/>
                </a:moveTo>
                <a:lnTo>
                  <a:pt x="247307" y="0"/>
                </a:lnTo>
                <a:lnTo>
                  <a:pt x="245173" y="3657"/>
                </a:lnTo>
                <a:lnTo>
                  <a:pt x="253707" y="10782"/>
                </a:lnTo>
                <a:lnTo>
                  <a:pt x="255358" y="17170"/>
                </a:lnTo>
                <a:lnTo>
                  <a:pt x="253187" y="22796"/>
                </a:lnTo>
                <a:lnTo>
                  <a:pt x="207975" y="146291"/>
                </a:lnTo>
                <a:lnTo>
                  <a:pt x="232547" y="146291"/>
                </a:lnTo>
                <a:lnTo>
                  <a:pt x="287083" y="0"/>
                </a:lnTo>
                <a:close/>
              </a:path>
              <a:path w="287654" h="188595">
                <a:moveTo>
                  <a:pt x="160312" y="0"/>
                </a:moveTo>
                <a:lnTo>
                  <a:pt x="128930" y="0"/>
                </a:lnTo>
                <a:lnTo>
                  <a:pt x="126796" y="3657"/>
                </a:lnTo>
                <a:lnTo>
                  <a:pt x="135318" y="10782"/>
                </a:lnTo>
                <a:lnTo>
                  <a:pt x="136969" y="17170"/>
                </a:lnTo>
                <a:lnTo>
                  <a:pt x="134797" y="22796"/>
                </a:lnTo>
                <a:lnTo>
                  <a:pt x="88976" y="144538"/>
                </a:lnTo>
                <a:lnTo>
                  <a:pt x="113472" y="144538"/>
                </a:lnTo>
                <a:lnTo>
                  <a:pt x="147459" y="53555"/>
                </a:lnTo>
                <a:lnTo>
                  <a:pt x="177761" y="53555"/>
                </a:lnTo>
                <a:lnTo>
                  <a:pt x="160312" y="0"/>
                </a:lnTo>
                <a:close/>
              </a:path>
            </a:pathLst>
          </a:custGeom>
          <a:solidFill>
            <a:srgbClr val="12100A"/>
          </a:solidFill>
        </p:spPr>
        <p:txBody>
          <a:bodyPr wrap="square" lIns="0" tIns="0" rIns="0" bIns="0" rtlCol="0"/>
          <a:lstStyle/>
          <a:p>
            <a:pPr>
              <a:defRPr/>
            </a:pPr>
            <a:endParaRPr>
              <a:solidFill>
                <a:prstClr val="black"/>
              </a:solidFill>
            </a:endParaRPr>
          </a:p>
        </p:txBody>
      </p:sp>
      <p:sp>
        <p:nvSpPr>
          <p:cNvPr id="30" name="Content Placeholder 2"/>
          <p:cNvSpPr txBox="1">
            <a:spLocks/>
          </p:cNvSpPr>
          <p:nvPr/>
        </p:nvSpPr>
        <p:spPr>
          <a:xfrm>
            <a:off x="445140" y="1428957"/>
            <a:ext cx="397446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 sz="1000" b="0" i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fi-FI" sz="1600" b="1" dirty="0">
              <a:solidFill>
                <a:srgbClr val="FF882A"/>
              </a:solidFill>
            </a:endParaRPr>
          </a:p>
          <a:p>
            <a:pPr>
              <a:defRPr/>
            </a:pPr>
            <a:endParaRPr lang="fi-FI" sz="1600" b="1" dirty="0">
              <a:solidFill>
                <a:srgbClr val="FF882A"/>
              </a:solidFill>
            </a:endParaRPr>
          </a:p>
          <a:p>
            <a:pPr>
              <a:defRPr/>
            </a:pPr>
            <a:endParaRPr lang="fi-FI" sz="1600" b="1" dirty="0">
              <a:solidFill>
                <a:srgbClr val="FF882A"/>
              </a:solidFill>
            </a:endParaRPr>
          </a:p>
          <a:p>
            <a:pPr>
              <a:defRPr/>
            </a:pPr>
            <a:endParaRPr lang="fi-FI" sz="1600" b="1" dirty="0">
              <a:solidFill>
                <a:srgbClr val="FF882A"/>
              </a:solidFill>
            </a:endParaRPr>
          </a:p>
          <a:p>
            <a:pPr>
              <a:defRPr/>
            </a:pPr>
            <a:endParaRPr lang="fi-FI" sz="1600" b="1" dirty="0">
              <a:solidFill>
                <a:srgbClr val="FF882A"/>
              </a:solidFill>
            </a:endParaRPr>
          </a:p>
        </p:txBody>
      </p:sp>
      <p:sp>
        <p:nvSpPr>
          <p:cNvPr id="31" name="Content Placeholder 2"/>
          <p:cNvSpPr>
            <a:spLocks noGrp="1"/>
          </p:cNvSpPr>
          <p:nvPr>
            <p:ph sz="half" idx="2"/>
          </p:nvPr>
        </p:nvSpPr>
        <p:spPr>
          <a:xfrm>
            <a:off x="427249" y="1162896"/>
            <a:ext cx="4904406" cy="3016210"/>
          </a:xfrm>
        </p:spPr>
        <p:txBody>
          <a:bodyPr>
            <a:normAutofit lnSpcReduction="10000"/>
          </a:bodyPr>
          <a:lstStyle/>
          <a:p>
            <a:r>
              <a:rPr lang="en-US" sz="1600" b="1" dirty="0">
                <a:solidFill>
                  <a:srgbClr val="FF9D4C"/>
                </a:solidFill>
              </a:rPr>
              <a:t>Customer: 	</a:t>
            </a:r>
            <a:r>
              <a:rPr lang="en-US" sz="1600" dirty="0" err="1">
                <a:solidFill>
                  <a:schemeClr val="bg1"/>
                </a:solidFill>
              </a:rPr>
              <a:t>AltaGas</a:t>
            </a:r>
            <a:r>
              <a:rPr lang="en-US" sz="1600" dirty="0">
                <a:solidFill>
                  <a:schemeClr val="bg1"/>
                </a:solidFill>
              </a:rPr>
              <a:t>, California, USA</a:t>
            </a:r>
          </a:p>
          <a:p>
            <a:endParaRPr lang="en-US" sz="900" dirty="0"/>
          </a:p>
          <a:p>
            <a:r>
              <a:rPr lang="en-US" sz="1600" b="1" dirty="0">
                <a:solidFill>
                  <a:srgbClr val="FF9D4C"/>
                </a:solidFill>
              </a:rPr>
              <a:t>Type:</a:t>
            </a:r>
            <a:r>
              <a:rPr lang="en-US" sz="1600" b="1" dirty="0"/>
              <a:t> 		</a:t>
            </a:r>
            <a:r>
              <a:rPr lang="en-US" sz="1600" dirty="0">
                <a:solidFill>
                  <a:schemeClr val="bg1"/>
                </a:solidFill>
              </a:rPr>
              <a:t>Energy Storage System (Li-Ion</a:t>
            </a:r>
            <a:r>
              <a:rPr lang="en-US" sz="1600" dirty="0"/>
              <a:t>)</a:t>
            </a:r>
          </a:p>
          <a:p>
            <a:endParaRPr lang="en-US" sz="900" dirty="0"/>
          </a:p>
          <a:p>
            <a:r>
              <a:rPr lang="en-US" sz="1600" b="1" dirty="0">
                <a:solidFill>
                  <a:srgbClr val="FF9D4C"/>
                </a:solidFill>
              </a:rPr>
              <a:t>Operating mode:</a:t>
            </a:r>
            <a:r>
              <a:rPr lang="en-US" sz="1600" b="1" dirty="0"/>
              <a:t> 	</a:t>
            </a:r>
            <a:r>
              <a:rPr lang="en-US" sz="1600" dirty="0">
                <a:solidFill>
                  <a:schemeClr val="bg1"/>
                </a:solidFill>
              </a:rPr>
              <a:t>Resource Adequacy </a:t>
            </a:r>
          </a:p>
          <a:p>
            <a:r>
              <a:rPr lang="en-US" sz="1600" dirty="0">
                <a:solidFill>
                  <a:schemeClr val="bg1"/>
                </a:solidFill>
              </a:rPr>
              <a:t>		Frequency Regulation</a:t>
            </a:r>
          </a:p>
          <a:p>
            <a:endParaRPr lang="en-US" sz="900" dirty="0"/>
          </a:p>
          <a:p>
            <a:r>
              <a:rPr lang="en-US" sz="1600" b="1" dirty="0">
                <a:solidFill>
                  <a:srgbClr val="FF9D4C"/>
                </a:solidFill>
              </a:rPr>
              <a:t>Inverters:</a:t>
            </a:r>
            <a:r>
              <a:rPr lang="en-US" sz="1600" b="1" dirty="0"/>
              <a:t> 	</a:t>
            </a:r>
            <a:r>
              <a:rPr lang="en-US" sz="1600" dirty="0">
                <a:solidFill>
                  <a:schemeClr val="bg1"/>
                </a:solidFill>
              </a:rPr>
              <a:t>20MW, Parker</a:t>
            </a:r>
          </a:p>
          <a:p>
            <a:r>
              <a:rPr lang="en-US" sz="1600" b="1" dirty="0">
                <a:solidFill>
                  <a:srgbClr val="FF9D4C"/>
                </a:solidFill>
              </a:rPr>
              <a:t>Batteries:</a:t>
            </a:r>
            <a:r>
              <a:rPr lang="en-US" sz="1600" b="1" dirty="0"/>
              <a:t> 	</a:t>
            </a:r>
            <a:r>
              <a:rPr lang="en-US" sz="1600" dirty="0">
                <a:solidFill>
                  <a:schemeClr val="bg1"/>
                </a:solidFill>
              </a:rPr>
              <a:t>80MWh, Samsung</a:t>
            </a:r>
          </a:p>
          <a:p>
            <a:endParaRPr lang="en-US" sz="1600" b="1" dirty="0">
              <a:solidFill>
                <a:srgbClr val="FF9D4C"/>
              </a:solidFill>
            </a:endParaRPr>
          </a:p>
          <a:p>
            <a:r>
              <a:rPr lang="en-US" sz="1600" b="1" dirty="0">
                <a:solidFill>
                  <a:srgbClr val="FF9D4C"/>
                </a:solidFill>
              </a:rPr>
              <a:t>Energy Management System: </a:t>
            </a:r>
            <a:r>
              <a:rPr lang="en-US" sz="1600" dirty="0">
                <a:solidFill>
                  <a:schemeClr val="bg1"/>
                </a:solidFill>
              </a:rPr>
              <a:t>GEMS5</a:t>
            </a:r>
          </a:p>
          <a:p>
            <a:endParaRPr lang="en-US" sz="900" dirty="0"/>
          </a:p>
          <a:p>
            <a:r>
              <a:rPr lang="en-US" sz="1600" b="1" dirty="0">
                <a:solidFill>
                  <a:srgbClr val="FF882A"/>
                </a:solidFill>
              </a:rPr>
              <a:t>Delivered: 	</a:t>
            </a:r>
            <a:r>
              <a:rPr lang="en-US" sz="1600" dirty="0">
                <a:solidFill>
                  <a:schemeClr val="bg1"/>
                </a:solidFill>
              </a:rPr>
              <a:t>2016</a:t>
            </a:r>
          </a:p>
          <a:p>
            <a:endParaRPr lang="en-US" sz="1600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xmlns="" id="{8694B8D0-A2EA-4AAD-B3FB-CA3F5C521A8D}"/>
              </a:ext>
            </a:extLst>
          </p:cNvPr>
          <p:cNvSpPr txBox="1">
            <a:spLocks/>
          </p:cNvSpPr>
          <p:nvPr/>
        </p:nvSpPr>
        <p:spPr bwMode="ltGray">
          <a:xfrm>
            <a:off x="-3600" y="-14372"/>
            <a:ext cx="6322748" cy="433553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  <p:txBody>
          <a:bodyPr vert="horz" wrap="none" lIns="288000" tIns="108000" rIns="288000" bIns="108000" rtlCol="0" anchor="ctr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None/>
              <a:tabLst/>
              <a:defRPr sz="1400" b="1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Helvetica" charset="0"/>
              <a:buNone/>
              <a:tabLst/>
              <a:defRPr sz="1400" b="1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Wingdings" charset="2"/>
              <a:buNone/>
              <a:tabLst/>
              <a:defRPr sz="1400" b="1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Courier New" charset="0"/>
              <a:buNone/>
              <a:tabLst/>
              <a:defRPr sz="1400" b="1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400" b="1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440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6pPr>
            <a:lvl7pPr marL="1692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7pPr>
            <a:lvl8pPr marL="1872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8pPr>
            <a:lvl9pPr marL="2088000" indent="-1800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kern="1200">
                <a:solidFill>
                  <a:srgbClr val="4D4D4D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C0504D"/>
              </a:buClr>
            </a:pPr>
            <a:r>
              <a:rPr lang="en-US" dirty="0">
                <a:solidFill>
                  <a:prstClr val="white"/>
                </a:solidFill>
                <a:latin typeface="Arial (body)"/>
              </a:rPr>
              <a:t>Case Study –  California (US) – Multiple Revenue Model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4294967295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/>
          <a:lstStyle/>
          <a:p>
            <a:fld id="{D09450E0-2545-46C5-AAB7-6A212360FD69}" type="datetime1">
              <a:rPr lang="fi-FI" smtClean="0">
                <a:solidFill>
                  <a:prstClr val="black">
                    <a:tint val="75000"/>
                  </a:prstClr>
                </a:solidFill>
              </a:rPr>
              <a:t>2.8.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/>
          <a:lstStyle/>
          <a:p>
            <a:r>
              <a:rPr lang="en-GB">
                <a:solidFill>
                  <a:prstClr val="black">
                    <a:tint val="75000"/>
                  </a:prstClr>
                </a:solidFill>
              </a:rPr>
              <a:t>Wartsila / Greensmith Energy Storag Solu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407852" y="7005815"/>
            <a:ext cx="2804160" cy="342900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46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280714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411171" y="1159934"/>
            <a:ext cx="55335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chemeClr val="bg1">
                    <a:lumMod val="75000"/>
                    <a:alpha val="45000"/>
                  </a:schemeClr>
                </a:solidFill>
                <a:latin typeface="Helvetica Neue" charset="0"/>
                <a:ea typeface="Helvetica Neue" charset="0"/>
                <a:cs typeface="Helvetica Neue" charset="0"/>
              </a:rPr>
              <a:t>+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91373" y="1281165"/>
            <a:ext cx="3265274" cy="1284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80"/>
              </a:lnSpc>
              <a:buClr>
                <a:srgbClr val="FF7321"/>
              </a:buClr>
            </a:pPr>
            <a:r>
              <a:rPr lang="en-US" sz="2900" b="1" spc="1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Pomona Energy Center </a:t>
            </a:r>
            <a:r>
              <a:rPr lang="en-US" sz="2600" b="1" spc="100" dirty="0">
                <a:solidFill>
                  <a:srgbClr val="00935E"/>
                </a:solidFill>
                <a:latin typeface="Helvetica Neue" charset="0"/>
                <a:ea typeface="Helvetica Neue" charset="0"/>
                <a:cs typeface="Helvetica Neue" charset="0"/>
              </a:rPr>
              <a:t>20MW/80MWh</a:t>
            </a:r>
          </a:p>
        </p:txBody>
      </p:sp>
      <p:sp>
        <p:nvSpPr>
          <p:cNvPr id="9" name="Freeform 8"/>
          <p:cNvSpPr/>
          <p:nvPr/>
        </p:nvSpPr>
        <p:spPr>
          <a:xfrm>
            <a:off x="4303643" y="2107096"/>
            <a:ext cx="7901609" cy="735495"/>
          </a:xfrm>
          <a:custGeom>
            <a:avLst/>
            <a:gdLst>
              <a:gd name="connsiteX0" fmla="*/ 0 w 7901609"/>
              <a:gd name="connsiteY0" fmla="*/ 735495 h 735495"/>
              <a:gd name="connsiteX1" fmla="*/ 487018 w 7901609"/>
              <a:gd name="connsiteY1" fmla="*/ 0 h 735495"/>
              <a:gd name="connsiteX2" fmla="*/ 7901609 w 7901609"/>
              <a:gd name="connsiteY2" fmla="*/ 0 h 735495"/>
              <a:gd name="connsiteX3" fmla="*/ 7901609 w 7901609"/>
              <a:gd name="connsiteY3" fmla="*/ 725556 h 735495"/>
              <a:gd name="connsiteX4" fmla="*/ 0 w 7901609"/>
              <a:gd name="connsiteY4" fmla="*/ 735495 h 735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901609" h="735495">
                <a:moveTo>
                  <a:pt x="0" y="735495"/>
                </a:moveTo>
                <a:lnTo>
                  <a:pt x="487018" y="0"/>
                </a:lnTo>
                <a:lnTo>
                  <a:pt x="7901609" y="0"/>
                </a:lnTo>
                <a:lnTo>
                  <a:pt x="7901609" y="725556"/>
                </a:lnTo>
                <a:lnTo>
                  <a:pt x="0" y="7354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739004" y="3138881"/>
            <a:ext cx="38211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sz="1400" b="1" dirty="0">
                <a:solidFill>
                  <a:srgbClr val="0F334A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20MW/80MWh ESS constructed in record tim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8164" y="6127357"/>
            <a:ext cx="660733" cy="462513"/>
          </a:xfrm>
          <a:prstGeom prst="rect">
            <a:avLst/>
          </a:prstGeom>
        </p:spPr>
      </p:pic>
      <p:sp>
        <p:nvSpPr>
          <p:cNvPr id="12" name="Freeform 11"/>
          <p:cNvSpPr/>
          <p:nvPr/>
        </p:nvSpPr>
        <p:spPr>
          <a:xfrm>
            <a:off x="-39757" y="-9939"/>
            <a:ext cx="3756992" cy="954156"/>
          </a:xfrm>
          <a:custGeom>
            <a:avLst/>
            <a:gdLst>
              <a:gd name="connsiteX0" fmla="*/ 19879 w 3756992"/>
              <a:gd name="connsiteY0" fmla="*/ 954156 h 954156"/>
              <a:gd name="connsiteX1" fmla="*/ 3210340 w 3756992"/>
              <a:gd name="connsiteY1" fmla="*/ 954156 h 954156"/>
              <a:gd name="connsiteX2" fmla="*/ 3756992 w 3756992"/>
              <a:gd name="connsiteY2" fmla="*/ 0 h 954156"/>
              <a:gd name="connsiteX3" fmla="*/ 0 w 3756992"/>
              <a:gd name="connsiteY3" fmla="*/ 0 h 954156"/>
              <a:gd name="connsiteX4" fmla="*/ 19879 w 3756992"/>
              <a:gd name="connsiteY4" fmla="*/ 954156 h 954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6992" h="954156">
                <a:moveTo>
                  <a:pt x="19879" y="954156"/>
                </a:moveTo>
                <a:lnTo>
                  <a:pt x="3210340" y="954156"/>
                </a:lnTo>
                <a:lnTo>
                  <a:pt x="3756992" y="0"/>
                </a:lnTo>
                <a:lnTo>
                  <a:pt x="0" y="0"/>
                </a:lnTo>
                <a:lnTo>
                  <a:pt x="19879" y="9541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947" y="211908"/>
            <a:ext cx="1883924" cy="596287"/>
          </a:xfrm>
          <a:prstGeom prst="rect">
            <a:avLst/>
          </a:prstGeom>
        </p:spPr>
      </p:pic>
      <p:sp>
        <p:nvSpPr>
          <p:cNvPr id="14" name="Freeform 13"/>
          <p:cNvSpPr/>
          <p:nvPr/>
        </p:nvSpPr>
        <p:spPr>
          <a:xfrm flipH="1">
            <a:off x="10167729" y="-9938"/>
            <a:ext cx="2047461" cy="519990"/>
          </a:xfrm>
          <a:custGeom>
            <a:avLst/>
            <a:gdLst>
              <a:gd name="connsiteX0" fmla="*/ 19879 w 3756992"/>
              <a:gd name="connsiteY0" fmla="*/ 954156 h 954156"/>
              <a:gd name="connsiteX1" fmla="*/ 3210340 w 3756992"/>
              <a:gd name="connsiteY1" fmla="*/ 954156 h 954156"/>
              <a:gd name="connsiteX2" fmla="*/ 3756992 w 3756992"/>
              <a:gd name="connsiteY2" fmla="*/ 0 h 954156"/>
              <a:gd name="connsiteX3" fmla="*/ 0 w 3756992"/>
              <a:gd name="connsiteY3" fmla="*/ 0 h 954156"/>
              <a:gd name="connsiteX4" fmla="*/ 19879 w 3756992"/>
              <a:gd name="connsiteY4" fmla="*/ 954156 h 954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6992" h="954156">
                <a:moveTo>
                  <a:pt x="19879" y="954156"/>
                </a:moveTo>
                <a:lnTo>
                  <a:pt x="3210340" y="954156"/>
                </a:lnTo>
                <a:lnTo>
                  <a:pt x="3756992" y="0"/>
                </a:lnTo>
                <a:lnTo>
                  <a:pt x="0" y="0"/>
                </a:lnTo>
                <a:lnTo>
                  <a:pt x="19879" y="954156"/>
                </a:lnTo>
                <a:close/>
              </a:path>
            </a:pathLst>
          </a:custGeom>
          <a:solidFill>
            <a:srgbClr val="FF73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10247243" y="125163"/>
            <a:ext cx="19447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CASE STUDY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8070072" y="82186"/>
            <a:ext cx="2006527" cy="2175918"/>
            <a:chOff x="4349570" y="-106093"/>
            <a:chExt cx="2006527" cy="2175918"/>
          </a:xfrm>
        </p:grpSpPr>
        <p:sp>
          <p:nvSpPr>
            <p:cNvPr id="17" name="TextBox 16"/>
            <p:cNvSpPr txBox="1"/>
            <p:nvPr/>
          </p:nvSpPr>
          <p:spPr>
            <a:xfrm>
              <a:off x="4349570" y="53889"/>
              <a:ext cx="1146468" cy="20159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500" b="1" dirty="0">
                  <a:solidFill>
                    <a:schemeClr val="bg1"/>
                  </a:solidFill>
                  <a:effectLst>
                    <a:glow>
                      <a:schemeClr val="accent1"/>
                    </a:glow>
                  </a:effectLst>
                  <a:latin typeface="Helvetica Neue" charset="0"/>
                  <a:ea typeface="Helvetica Neue" charset="0"/>
                  <a:cs typeface="Helvetica Neue" charset="0"/>
                </a:rPr>
                <a:t>+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594350" y="42417"/>
              <a:ext cx="761747" cy="1246495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7500" b="1" dirty="0">
                  <a:solidFill>
                    <a:schemeClr val="bg1"/>
                  </a:solidFill>
                  <a:effectLst>
                    <a:glow>
                      <a:schemeClr val="accent1"/>
                    </a:glow>
                  </a:effectLst>
                  <a:latin typeface="Helvetica Neue" charset="0"/>
                  <a:ea typeface="Helvetica Neue" charset="0"/>
                  <a:cs typeface="Helvetica Neue" charset="0"/>
                </a:rPr>
                <a:t>+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399841" y="-106093"/>
              <a:ext cx="309504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000" b="1" dirty="0">
                  <a:solidFill>
                    <a:schemeClr val="bg1"/>
                  </a:solidFill>
                  <a:effectLst>
                    <a:glow>
                      <a:schemeClr val="accent1"/>
                    </a:glow>
                  </a:effectLst>
                  <a:latin typeface="Helvetica Neue" charset="0"/>
                  <a:ea typeface="Helvetica Neue" charset="0"/>
                  <a:cs typeface="Helvetica Neue" charset="0"/>
                </a:rPr>
                <a:t>+</a:t>
              </a:r>
            </a:p>
          </p:txBody>
        </p:sp>
      </p:grpSp>
      <p:sp>
        <p:nvSpPr>
          <p:cNvPr id="20" name="TextBox 19"/>
          <p:cNvSpPr txBox="1"/>
          <p:nvPr/>
        </p:nvSpPr>
        <p:spPr>
          <a:xfrm>
            <a:off x="9567027" y="2389193"/>
            <a:ext cx="234780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" charset="0"/>
                <a:ea typeface="Helvetica Neue" charset="0"/>
                <a:cs typeface="Helvetica Neue" charset="0"/>
              </a:rPr>
              <a:t>KEY TAKEAWAY</a:t>
            </a:r>
          </a:p>
          <a:p>
            <a:r>
              <a:rPr lang="en-US" sz="1200" dirty="0">
                <a:solidFill>
                  <a:srgbClr val="00935E"/>
                </a:solidFill>
                <a:latin typeface="Helvetica Neue" charset="0"/>
                <a:ea typeface="Helvetica Neue" charset="0"/>
                <a:cs typeface="Helvetica Neue" charset="0"/>
              </a:rPr>
              <a:t>5 months NTP to COD!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351861" y="2389193"/>
            <a:ext cx="19025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" charset="0"/>
                <a:ea typeface="Helvetica Neue" charset="0"/>
                <a:cs typeface="Helvetica Neue" charset="0"/>
              </a:rPr>
              <a:t>DEPLOYMENT</a:t>
            </a:r>
          </a:p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" charset="0"/>
                <a:ea typeface="Helvetica Neue" charset="0"/>
                <a:cs typeface="Helvetica Neue" charset="0"/>
              </a:rPr>
              <a:t>20MW/80Mwh ES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933891" y="2389193"/>
            <a:ext cx="16331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" charset="0"/>
                <a:ea typeface="Helvetica Neue" charset="0"/>
                <a:cs typeface="Helvetica Neue" charset="0"/>
              </a:rPr>
              <a:t>SOLUTION</a:t>
            </a:r>
          </a:p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" charset="0"/>
                <a:ea typeface="Helvetica Neue" charset="0"/>
                <a:cs typeface="Helvetica Neue" charset="0"/>
              </a:rPr>
              <a:t>Renewables integration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826552" y="2389193"/>
            <a:ext cx="19025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" charset="0"/>
                <a:ea typeface="Helvetica Neue" charset="0"/>
                <a:cs typeface="Helvetica Neue" charset="0"/>
              </a:rPr>
              <a:t>CLIENT PARTNER</a:t>
            </a:r>
          </a:p>
          <a:p>
            <a:r>
              <a:rPr lang="en-US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 Neue" charset="0"/>
                <a:ea typeface="Helvetica Neue" charset="0"/>
                <a:cs typeface="Helvetica Neue" charset="0"/>
              </a:rPr>
              <a:t>Alta Gas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26552" y="3135835"/>
            <a:ext cx="5628780" cy="3343173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6554" y="3847297"/>
            <a:ext cx="4301547" cy="238228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662161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8003EA0-30E6-4E78-9D87-8B760355C0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/>
              <a:t>2.8.20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96EFFAA7-49FB-4C0F-829C-316078E044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[Presentation name / Author]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CC7CF86-707F-405A-B0B4-143BAFE96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/>
              <a:t>16</a:t>
            </a:fld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DD790393-F45F-4616-A606-B6298BC86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362" y="819802"/>
            <a:ext cx="10515600" cy="789091"/>
          </a:xfrm>
        </p:spPr>
        <p:txBody>
          <a:bodyPr/>
          <a:lstStyle/>
          <a:p>
            <a:r>
              <a:rPr lang="en-AU" dirty="0" smtClean="0"/>
              <a:t>Graciosa (Azores) </a:t>
            </a:r>
            <a:r>
              <a:rPr lang="en-AU" dirty="0"/>
              <a:t>Microgri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B61E16C3-141F-4524-A540-A25FFF00DD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381B4C17-F917-4598-9CE5-CBE5EFCC00DC}"/>
              </a:ext>
            </a:extLst>
          </p:cNvPr>
          <p:cNvSpPr/>
          <p:nvPr/>
        </p:nvSpPr>
        <p:spPr>
          <a:xfrm>
            <a:off x="342362" y="1608893"/>
            <a:ext cx="5093238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Deployment details</a:t>
            </a:r>
          </a:p>
          <a:p>
            <a:r>
              <a:rPr lang="en-US" sz="700" b="1" dirty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EU funding &gt;$20M for wind turbines, battery, &amp; solar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5 Enercon 900 KW Wind Turbines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1 MW Solar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6MW/2.6MWh Battery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Greensmith as overall integrator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PPA based on fuel savings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Goal of 65% renewables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Renewables complete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Battery Inverters and System </a:t>
            </a:r>
            <a:r>
              <a:rPr lang="en-US" dirty="0" smtClean="0">
                <a:solidFill>
                  <a:srgbClr val="002248"/>
                </a:solidFill>
                <a:latin typeface="Helvetica Neue" charset="0"/>
                <a:ea typeface="Helvetica Neue" charset="0"/>
                <a:cs typeface="Helvetica Neue" charset="0"/>
              </a:rPr>
              <a:t>commissioning</a:t>
            </a:r>
            <a:endParaRPr lang="en-US" dirty="0">
              <a:solidFill>
                <a:srgbClr val="002248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95E44C84-9773-4C6D-88C3-85C8408F53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5600" y="1608893"/>
            <a:ext cx="6756400" cy="363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83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5758" cy="6858000"/>
          </a:xfrm>
          <a:prstGeom prst="rect">
            <a:avLst/>
          </a:prstGeom>
        </p:spPr>
      </p:pic>
      <p:sp>
        <p:nvSpPr>
          <p:cNvPr id="48" name="Rectangle 47"/>
          <p:cNvSpPr/>
          <p:nvPr/>
        </p:nvSpPr>
        <p:spPr>
          <a:xfrm>
            <a:off x="841428" y="2907860"/>
            <a:ext cx="2239641" cy="928331"/>
          </a:xfrm>
          <a:prstGeom prst="rect">
            <a:avLst/>
          </a:prstGeom>
          <a:solidFill>
            <a:srgbClr val="00935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Rectangle 48"/>
          <p:cNvSpPr/>
          <p:nvPr/>
        </p:nvSpPr>
        <p:spPr>
          <a:xfrm>
            <a:off x="3188205" y="2907860"/>
            <a:ext cx="2222826" cy="928331"/>
          </a:xfrm>
          <a:prstGeom prst="rect">
            <a:avLst/>
          </a:prstGeom>
          <a:solidFill>
            <a:srgbClr val="00935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0" name="Rectangle 49"/>
          <p:cNvSpPr/>
          <p:nvPr/>
        </p:nvSpPr>
        <p:spPr>
          <a:xfrm>
            <a:off x="5518167" y="2907860"/>
            <a:ext cx="2222826" cy="928331"/>
          </a:xfrm>
          <a:prstGeom prst="rect">
            <a:avLst/>
          </a:prstGeom>
          <a:solidFill>
            <a:srgbClr val="00935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ectangle 50"/>
          <p:cNvSpPr/>
          <p:nvPr/>
        </p:nvSpPr>
        <p:spPr>
          <a:xfrm>
            <a:off x="7848129" y="2907860"/>
            <a:ext cx="2222826" cy="928331"/>
          </a:xfrm>
          <a:prstGeom prst="rect">
            <a:avLst/>
          </a:prstGeom>
          <a:solidFill>
            <a:srgbClr val="00935E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Freeform 32"/>
          <p:cNvSpPr/>
          <p:nvPr/>
        </p:nvSpPr>
        <p:spPr>
          <a:xfrm>
            <a:off x="-13758" y="-19900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rgbClr val="FF7321"/>
          </a:solidFill>
          <a:ln w="3175">
            <a:noFill/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6805" y="1474625"/>
            <a:ext cx="7514484" cy="88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80"/>
              </a:lnSpc>
              <a:buClr>
                <a:srgbClr val="FF7321"/>
              </a:buClr>
            </a:pPr>
            <a:r>
              <a:rPr lang="en-US" sz="2900" b="1" dirty="0">
                <a:solidFill>
                  <a:srgbClr val="0F334A"/>
                </a:solidFill>
                <a:latin typeface="Helvetica Neue" charset="0"/>
                <a:ea typeface="Helvetica Neue" charset="0"/>
                <a:cs typeface="Helvetica Neue" charset="0"/>
              </a:rPr>
              <a:t>GEMS turns batteries</a:t>
            </a:r>
          </a:p>
          <a:p>
            <a:pPr>
              <a:lnSpc>
                <a:spcPts val="3080"/>
              </a:lnSpc>
              <a:buClr>
                <a:srgbClr val="FF7321"/>
              </a:buClr>
            </a:pPr>
            <a:r>
              <a:rPr lang="en-US" sz="2900" b="1" dirty="0">
                <a:solidFill>
                  <a:srgbClr val="00935E"/>
                </a:solidFill>
                <a:latin typeface="Helvetica Neue" charset="0"/>
                <a:ea typeface="Helvetica Neue" charset="0"/>
                <a:cs typeface="Helvetica Neue" charset="0"/>
              </a:rPr>
              <a:t>to Revenue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08891"/>
            <a:ext cx="674624" cy="690880"/>
          </a:xfrm>
          <a:prstGeom prst="rect">
            <a:avLst/>
          </a:prstGeom>
          <a:noFill/>
        </p:spPr>
      </p:pic>
      <p:sp>
        <p:nvSpPr>
          <p:cNvPr id="177" name="Rectangle 176"/>
          <p:cNvSpPr/>
          <p:nvPr/>
        </p:nvSpPr>
        <p:spPr>
          <a:xfrm>
            <a:off x="10414155" y="2915080"/>
            <a:ext cx="1224964" cy="928331"/>
          </a:xfrm>
          <a:prstGeom prst="rect">
            <a:avLst/>
          </a:prstGeom>
          <a:solidFill>
            <a:srgbClr val="5F6369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8" name="Rectangle 177"/>
          <p:cNvSpPr/>
          <p:nvPr/>
        </p:nvSpPr>
        <p:spPr>
          <a:xfrm>
            <a:off x="10414155" y="3938223"/>
            <a:ext cx="1224964" cy="928331"/>
          </a:xfrm>
          <a:prstGeom prst="rect">
            <a:avLst/>
          </a:prstGeom>
          <a:solidFill>
            <a:srgbClr val="5F6369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9" name="Rectangle 178"/>
          <p:cNvSpPr/>
          <p:nvPr/>
        </p:nvSpPr>
        <p:spPr>
          <a:xfrm>
            <a:off x="10414155" y="4961366"/>
            <a:ext cx="1224964" cy="928331"/>
          </a:xfrm>
          <a:prstGeom prst="rect">
            <a:avLst/>
          </a:prstGeom>
          <a:solidFill>
            <a:srgbClr val="5F6369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841429" y="3235866"/>
            <a:ext cx="22319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Grid Reliability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3188205" y="3231274"/>
            <a:ext cx="22151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Renewable Integration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5518167" y="3218136"/>
            <a:ext cx="22151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Micro Grids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7840411" y="3126280"/>
            <a:ext cx="22228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Hybrid Engine Optimization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10414155" y="3273846"/>
            <a:ext cx="12249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SCADA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10414155" y="4116939"/>
            <a:ext cx="12249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Weather Forecasts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10420750" y="5160606"/>
            <a:ext cx="12183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Energy Market Data</a:t>
            </a:r>
          </a:p>
        </p:txBody>
      </p:sp>
      <p:sp>
        <p:nvSpPr>
          <p:cNvPr id="193" name="Rectangle 192"/>
          <p:cNvSpPr/>
          <p:nvPr/>
        </p:nvSpPr>
        <p:spPr>
          <a:xfrm>
            <a:off x="833710" y="3935158"/>
            <a:ext cx="9237245" cy="928331"/>
          </a:xfrm>
          <a:prstGeom prst="rect">
            <a:avLst/>
          </a:prstGeom>
          <a:solidFill>
            <a:srgbClr val="FF7321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0" name="TextBox 199"/>
          <p:cNvSpPr txBox="1"/>
          <p:nvPr/>
        </p:nvSpPr>
        <p:spPr>
          <a:xfrm>
            <a:off x="833710" y="4107327"/>
            <a:ext cx="92438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GEMS OS</a:t>
            </a:r>
          </a:p>
        </p:txBody>
      </p:sp>
      <p:sp>
        <p:nvSpPr>
          <p:cNvPr id="202" name="Rectangle 201"/>
          <p:cNvSpPr/>
          <p:nvPr/>
        </p:nvSpPr>
        <p:spPr>
          <a:xfrm>
            <a:off x="833710" y="4965835"/>
            <a:ext cx="2239641" cy="928331"/>
          </a:xfrm>
          <a:prstGeom prst="rect">
            <a:avLst/>
          </a:prstGeom>
          <a:solidFill>
            <a:srgbClr val="0F334A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3" name="Rectangle 202"/>
          <p:cNvSpPr/>
          <p:nvPr/>
        </p:nvSpPr>
        <p:spPr>
          <a:xfrm>
            <a:off x="3180487" y="4965835"/>
            <a:ext cx="2222826" cy="928331"/>
          </a:xfrm>
          <a:prstGeom prst="rect">
            <a:avLst/>
          </a:prstGeom>
          <a:solidFill>
            <a:srgbClr val="0F334A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4" name="Rectangle 203"/>
          <p:cNvSpPr/>
          <p:nvPr/>
        </p:nvSpPr>
        <p:spPr>
          <a:xfrm>
            <a:off x="5510449" y="4965835"/>
            <a:ext cx="2222826" cy="928331"/>
          </a:xfrm>
          <a:prstGeom prst="rect">
            <a:avLst/>
          </a:prstGeom>
          <a:solidFill>
            <a:srgbClr val="0F334A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5" name="Rectangle 204"/>
          <p:cNvSpPr/>
          <p:nvPr/>
        </p:nvSpPr>
        <p:spPr>
          <a:xfrm>
            <a:off x="7840411" y="4965835"/>
            <a:ext cx="2222826" cy="928331"/>
          </a:xfrm>
          <a:prstGeom prst="rect">
            <a:avLst/>
          </a:prstGeom>
          <a:solidFill>
            <a:srgbClr val="0F334A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9" name="TextBox 208"/>
          <p:cNvSpPr txBox="1"/>
          <p:nvPr/>
        </p:nvSpPr>
        <p:spPr>
          <a:xfrm>
            <a:off x="841429" y="5268329"/>
            <a:ext cx="223192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Batteries</a:t>
            </a:r>
          </a:p>
        </p:txBody>
      </p:sp>
      <p:sp>
        <p:nvSpPr>
          <p:cNvPr id="210" name="TextBox 209"/>
          <p:cNvSpPr txBox="1"/>
          <p:nvPr/>
        </p:nvSpPr>
        <p:spPr>
          <a:xfrm>
            <a:off x="3188205" y="5268329"/>
            <a:ext cx="22151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Solar</a:t>
            </a:r>
          </a:p>
        </p:txBody>
      </p:sp>
      <p:sp>
        <p:nvSpPr>
          <p:cNvPr id="211" name="TextBox 210"/>
          <p:cNvSpPr txBox="1"/>
          <p:nvPr/>
        </p:nvSpPr>
        <p:spPr>
          <a:xfrm>
            <a:off x="5518167" y="5268328"/>
            <a:ext cx="22151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Engines</a:t>
            </a:r>
          </a:p>
        </p:txBody>
      </p:sp>
      <p:sp>
        <p:nvSpPr>
          <p:cNvPr id="212" name="TextBox 211"/>
          <p:cNvSpPr txBox="1"/>
          <p:nvPr/>
        </p:nvSpPr>
        <p:spPr>
          <a:xfrm>
            <a:off x="7848129" y="5257821"/>
            <a:ext cx="22151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Sensors</a:t>
            </a:r>
          </a:p>
        </p:txBody>
      </p:sp>
      <p:sp>
        <p:nvSpPr>
          <p:cNvPr id="34" name="TextBox 33"/>
          <p:cNvSpPr txBox="1"/>
          <p:nvPr/>
        </p:nvSpPr>
        <p:spPr>
          <a:xfrm rot="16200000">
            <a:off x="-14189" y="5299860"/>
            <a:ext cx="1325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82898E"/>
                </a:solidFill>
                <a:latin typeface="Helvetica Neue" charset="0"/>
                <a:ea typeface="Helvetica Neue" charset="0"/>
                <a:cs typeface="Helvetica Neue" charset="0"/>
              </a:rPr>
              <a:t>Equipment</a:t>
            </a:r>
          </a:p>
        </p:txBody>
      </p:sp>
      <p:sp>
        <p:nvSpPr>
          <p:cNvPr id="35" name="TextBox 34"/>
          <p:cNvSpPr txBox="1"/>
          <p:nvPr/>
        </p:nvSpPr>
        <p:spPr>
          <a:xfrm rot="16200000">
            <a:off x="10115" y="3309824"/>
            <a:ext cx="1325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82898E"/>
                </a:solidFill>
                <a:latin typeface="Helvetica Neue" charset="0"/>
                <a:ea typeface="Helvetica Neue" charset="0"/>
                <a:cs typeface="Helvetica Neue" charset="0"/>
              </a:rPr>
              <a:t>Solutions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0363835" y="2597360"/>
            <a:ext cx="1325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82898E"/>
                </a:solidFill>
                <a:latin typeface="Helvetica Neue" charset="0"/>
                <a:ea typeface="Helvetica Neue" charset="0"/>
                <a:cs typeface="Helvetica Neue" charset="0"/>
              </a:rPr>
              <a:t>Externa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16827" y="4400390"/>
            <a:ext cx="946863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Operation Scheduling • Peer-to-Peer Group Control • Real-time Equipment Control • Local HMI</a:t>
            </a:r>
          </a:p>
        </p:txBody>
      </p:sp>
      <p:sp>
        <p:nvSpPr>
          <p:cNvPr id="47" name="TextBox 46"/>
          <p:cNvSpPr txBox="1"/>
          <p:nvPr/>
        </p:nvSpPr>
        <p:spPr>
          <a:xfrm rot="16200000">
            <a:off x="-6471" y="4247038"/>
            <a:ext cx="13256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srgbClr val="82898E"/>
                </a:solidFill>
                <a:latin typeface="Helvetica Neue" charset="0"/>
                <a:ea typeface="Helvetica Neue" charset="0"/>
                <a:cs typeface="Helvetica Neue" charset="0"/>
              </a:rPr>
              <a:t>Intelligence</a:t>
            </a:r>
          </a:p>
        </p:txBody>
      </p:sp>
      <p:cxnSp>
        <p:nvCxnSpPr>
          <p:cNvPr id="53" name="Elbow Connector 52"/>
          <p:cNvCxnSpPr/>
          <p:nvPr/>
        </p:nvCxnSpPr>
        <p:spPr>
          <a:xfrm rot="10800000">
            <a:off x="10109040" y="4797823"/>
            <a:ext cx="314835" cy="178289"/>
          </a:xfrm>
          <a:prstGeom prst="bentConnector3">
            <a:avLst/>
          </a:prstGeom>
          <a:ln w="28575">
            <a:solidFill>
              <a:srgbClr val="5F6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Elbow Connector 76"/>
          <p:cNvCxnSpPr/>
          <p:nvPr/>
        </p:nvCxnSpPr>
        <p:spPr>
          <a:xfrm rot="10800000" flipV="1">
            <a:off x="10121481" y="3828520"/>
            <a:ext cx="295514" cy="204351"/>
          </a:xfrm>
          <a:prstGeom prst="bentConnector3">
            <a:avLst/>
          </a:prstGeom>
          <a:ln w="28575">
            <a:solidFill>
              <a:srgbClr val="5F6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rot="10800000">
            <a:off x="10121481" y="4422804"/>
            <a:ext cx="295514" cy="0"/>
          </a:xfrm>
          <a:prstGeom prst="straightConnector1">
            <a:avLst/>
          </a:prstGeom>
          <a:ln w="28575">
            <a:solidFill>
              <a:srgbClr val="5F636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/>
          <p:cNvGrpSpPr/>
          <p:nvPr/>
        </p:nvGrpSpPr>
        <p:grpSpPr>
          <a:xfrm>
            <a:off x="1831686" y="4883389"/>
            <a:ext cx="7248169" cy="93358"/>
            <a:chOff x="1831686" y="4883389"/>
            <a:chExt cx="7248169" cy="93358"/>
          </a:xfrm>
        </p:grpSpPr>
        <p:sp>
          <p:nvSpPr>
            <p:cNvPr id="64" name="Triangle 63"/>
            <p:cNvSpPr/>
            <p:nvPr/>
          </p:nvSpPr>
          <p:spPr>
            <a:xfrm>
              <a:off x="1831686" y="4883389"/>
              <a:ext cx="259124" cy="89970"/>
            </a:xfrm>
            <a:prstGeom prst="triangle">
              <a:avLst/>
            </a:prstGeom>
            <a:solidFill>
              <a:srgbClr val="0F334A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9" name="Triangle 88"/>
            <p:cNvSpPr/>
            <p:nvPr/>
          </p:nvSpPr>
          <p:spPr>
            <a:xfrm>
              <a:off x="4162338" y="4883389"/>
              <a:ext cx="259124" cy="89970"/>
            </a:xfrm>
            <a:prstGeom prst="triangle">
              <a:avLst/>
            </a:prstGeom>
            <a:solidFill>
              <a:srgbClr val="0F334A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0" name="Triangle 89"/>
            <p:cNvSpPr/>
            <p:nvPr/>
          </p:nvSpPr>
          <p:spPr>
            <a:xfrm>
              <a:off x="6492300" y="4886777"/>
              <a:ext cx="259124" cy="89970"/>
            </a:xfrm>
            <a:prstGeom prst="triangle">
              <a:avLst/>
            </a:prstGeom>
            <a:solidFill>
              <a:srgbClr val="0F334A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1" name="Triangle 90"/>
            <p:cNvSpPr/>
            <p:nvPr/>
          </p:nvSpPr>
          <p:spPr>
            <a:xfrm>
              <a:off x="8820731" y="4886564"/>
              <a:ext cx="259124" cy="89970"/>
            </a:xfrm>
            <a:prstGeom prst="triangle">
              <a:avLst/>
            </a:prstGeom>
            <a:solidFill>
              <a:srgbClr val="0F334A">
                <a:alpha val="9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93" name="Group 92"/>
          <p:cNvGrpSpPr/>
          <p:nvPr/>
        </p:nvGrpSpPr>
        <p:grpSpPr>
          <a:xfrm>
            <a:off x="1839404" y="3846753"/>
            <a:ext cx="7248169" cy="93358"/>
            <a:chOff x="1831686" y="4883389"/>
            <a:chExt cx="7248169" cy="93358"/>
          </a:xfrm>
          <a:solidFill>
            <a:srgbClr val="FF7321"/>
          </a:solidFill>
        </p:grpSpPr>
        <p:sp>
          <p:nvSpPr>
            <p:cNvPr id="94" name="Triangle 93"/>
            <p:cNvSpPr/>
            <p:nvPr/>
          </p:nvSpPr>
          <p:spPr>
            <a:xfrm>
              <a:off x="1831686" y="4883389"/>
              <a:ext cx="259124" cy="8997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5" name="Triangle 94"/>
            <p:cNvSpPr/>
            <p:nvPr/>
          </p:nvSpPr>
          <p:spPr>
            <a:xfrm>
              <a:off x="4162338" y="4883389"/>
              <a:ext cx="259124" cy="8997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6" name="Triangle 95"/>
            <p:cNvSpPr/>
            <p:nvPr/>
          </p:nvSpPr>
          <p:spPr>
            <a:xfrm>
              <a:off x="6492300" y="4886777"/>
              <a:ext cx="259124" cy="8997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7" name="Triangle 96"/>
            <p:cNvSpPr/>
            <p:nvPr/>
          </p:nvSpPr>
          <p:spPr>
            <a:xfrm>
              <a:off x="8820731" y="4886564"/>
              <a:ext cx="259124" cy="89970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408962" y="6200135"/>
            <a:ext cx="2743200" cy="365125"/>
          </a:xfrm>
        </p:spPr>
        <p:txBody>
          <a:bodyPr/>
          <a:lstStyle/>
          <a:p>
            <a:fld id="{6132E56D-1C1A-C945-8CD9-D0E5389C3164}" type="slidenum">
              <a:rPr lang="en-US" smtClean="0"/>
              <a:t>17</a:t>
            </a:fld>
            <a:endParaRPr lang="en-US" dirty="0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C5869AC2-AE39-B741-A7D3-C0C527949E75}"/>
              </a:ext>
            </a:extLst>
          </p:cNvPr>
          <p:cNvSpPr txBox="1"/>
          <p:nvPr/>
        </p:nvSpPr>
        <p:spPr>
          <a:xfrm>
            <a:off x="87294" y="177660"/>
            <a:ext cx="2780904" cy="287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80"/>
              </a:lnSpc>
            </a:pPr>
            <a:r>
              <a:rPr lang="en-US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Revenue Models</a:t>
            </a:r>
          </a:p>
        </p:txBody>
      </p:sp>
    </p:spTree>
    <p:extLst>
      <p:ext uri="{BB962C8B-B14F-4D97-AF65-F5344CB8AC3E}">
        <p14:creationId xmlns:p14="http://schemas.microsoft.com/office/powerpoint/2010/main" val="2455045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Date Placeholder 1">
            <a:extLst>
              <a:ext uri="{FF2B5EF4-FFF2-40B4-BE49-F238E27FC236}">
                <a16:creationId xmlns:a16="http://schemas.microsoft.com/office/drawing/2014/main" xmlns="" id="{5279DEAB-2951-471D-8DEA-BF2436587A4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642100"/>
            <a:ext cx="1003300" cy="179388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34" name="Footer Placeholder 2">
            <a:extLst>
              <a:ext uri="{FF2B5EF4-FFF2-40B4-BE49-F238E27FC236}">
                <a16:creationId xmlns:a16="http://schemas.microsoft.com/office/drawing/2014/main" xmlns="" id="{DF4CE9EE-7D60-4AC4-8386-D701AC2E011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40513"/>
            <a:ext cx="2619375" cy="180975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6D4D34AD-4FE0-9C46-87CF-FD47BC4B390B}"/>
              </a:ext>
            </a:extLst>
          </p:cNvPr>
          <p:cNvSpPr txBox="1"/>
          <p:nvPr/>
        </p:nvSpPr>
        <p:spPr>
          <a:xfrm>
            <a:off x="87294" y="14843"/>
            <a:ext cx="2780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GREENSMITH EMS - GEMS 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946C2861-2933-4740-9286-7E56AB18D09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2839" y="474770"/>
            <a:ext cx="3057562" cy="1690152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xmlns="" id="{24AD8E38-138B-4FA0-85EE-C889061587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4890" y="3781164"/>
            <a:ext cx="4024339" cy="223290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xmlns="" id="{56BDE881-71FE-4A16-AAAA-CC00607B44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7828" y="2182743"/>
            <a:ext cx="1346201" cy="2054618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C1A73283-19ED-4C01-981F-C5A3E3F0EFD3}"/>
              </a:ext>
            </a:extLst>
          </p:cNvPr>
          <p:cNvGrpSpPr/>
          <p:nvPr/>
        </p:nvGrpSpPr>
        <p:grpSpPr>
          <a:xfrm>
            <a:off x="720270" y="4350508"/>
            <a:ext cx="2882833" cy="1662427"/>
            <a:chOff x="4981133" y="2242773"/>
            <a:chExt cx="3705667" cy="2753016"/>
          </a:xfrm>
        </p:grpSpPr>
        <p:sp>
          <p:nvSpPr>
            <p:cNvPr id="37" name="Cube 36">
              <a:extLst>
                <a:ext uri="{FF2B5EF4-FFF2-40B4-BE49-F238E27FC236}">
                  <a16:creationId xmlns:a16="http://schemas.microsoft.com/office/drawing/2014/main" xmlns="" id="{CCFDADEF-3262-4F1E-8547-139B2BD19569}"/>
                </a:ext>
              </a:extLst>
            </p:cNvPr>
            <p:cNvSpPr/>
            <p:nvPr/>
          </p:nvSpPr>
          <p:spPr>
            <a:xfrm>
              <a:off x="4996374" y="3962400"/>
              <a:ext cx="3690425" cy="1033389"/>
            </a:xfrm>
            <a:prstGeom prst="cube">
              <a:avLst>
                <a:gd name="adj" fmla="val 44780"/>
              </a:avLst>
            </a:prstGeom>
            <a:solidFill>
              <a:srgbClr val="CCCCCC"/>
            </a:solidFill>
            <a:ln w="190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rver</a:t>
              </a:r>
            </a:p>
          </p:txBody>
        </p:sp>
        <p:sp>
          <p:nvSpPr>
            <p:cNvPr id="38" name="Cube 37">
              <a:extLst>
                <a:ext uri="{FF2B5EF4-FFF2-40B4-BE49-F238E27FC236}">
                  <a16:creationId xmlns:a16="http://schemas.microsoft.com/office/drawing/2014/main" xmlns="" id="{055D1827-0613-4034-A723-4D01A1610ECD}"/>
                </a:ext>
              </a:extLst>
            </p:cNvPr>
            <p:cNvSpPr/>
            <p:nvPr/>
          </p:nvSpPr>
          <p:spPr>
            <a:xfrm>
              <a:off x="4996374" y="3352800"/>
              <a:ext cx="3690426" cy="1033389"/>
            </a:xfrm>
            <a:prstGeom prst="cube">
              <a:avLst>
                <a:gd name="adj" fmla="val 44780"/>
              </a:avLst>
            </a:prstGeom>
            <a:gradFill rotWithShape="1">
              <a:gsLst>
                <a:gs pos="0">
                  <a:sysClr val="windowText" lastClr="000000">
                    <a:lumMod val="110000"/>
                    <a:satMod val="105000"/>
                    <a:tint val="67000"/>
                  </a:sysClr>
                </a:gs>
                <a:gs pos="50000">
                  <a:sysClr val="windowText" lastClr="000000">
                    <a:lumMod val="105000"/>
                    <a:satMod val="103000"/>
                    <a:tint val="73000"/>
                  </a:sysClr>
                </a:gs>
                <a:gs pos="100000">
                  <a:sysClr val="windowText" lastClr="000000">
                    <a:lumMod val="105000"/>
                    <a:satMod val="109000"/>
                    <a:tint val="81000"/>
                  </a:sysClr>
                </a:gs>
              </a:gsLst>
              <a:lin ang="5400000" scaled="0"/>
            </a:gradFill>
            <a:ln w="635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400" kern="0" dirty="0">
                  <a:solidFill>
                    <a:prstClr val="black"/>
                  </a:solidFill>
                  <a:latin typeface="Arial"/>
                </a:rPr>
                <a:t>Simulator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Cube 38">
              <a:extLst>
                <a:ext uri="{FF2B5EF4-FFF2-40B4-BE49-F238E27FC236}">
                  <a16:creationId xmlns:a16="http://schemas.microsoft.com/office/drawing/2014/main" xmlns="" id="{F213326A-F42D-4513-803C-D8F9B3689604}"/>
                </a:ext>
              </a:extLst>
            </p:cNvPr>
            <p:cNvSpPr/>
            <p:nvPr/>
          </p:nvSpPr>
          <p:spPr>
            <a:xfrm>
              <a:off x="4981133" y="2286000"/>
              <a:ext cx="3705666" cy="1537041"/>
            </a:xfrm>
            <a:prstGeom prst="cube">
              <a:avLst>
                <a:gd name="adj" fmla="val 34842"/>
              </a:avLst>
            </a:prstGeom>
            <a:solidFill>
              <a:sysClr val="window" lastClr="FFFFFF">
                <a:lumMod val="75000"/>
                <a:alpha val="34118"/>
              </a:sysClr>
            </a:solidFill>
            <a:ln w="1905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Cube 39">
              <a:extLst>
                <a:ext uri="{FF2B5EF4-FFF2-40B4-BE49-F238E27FC236}">
                  <a16:creationId xmlns:a16="http://schemas.microsoft.com/office/drawing/2014/main" xmlns="" id="{1F080927-6FEC-4903-946A-478ACB47704D}"/>
                </a:ext>
              </a:extLst>
            </p:cNvPr>
            <p:cNvSpPr/>
            <p:nvPr/>
          </p:nvSpPr>
          <p:spPr>
            <a:xfrm>
              <a:off x="5098947" y="3102806"/>
              <a:ext cx="1021081" cy="635683"/>
            </a:xfrm>
            <a:prstGeom prst="cube">
              <a:avLst>
                <a:gd name="adj" fmla="val 34842"/>
              </a:avLst>
            </a:prstGeom>
            <a:solidFill>
              <a:srgbClr val="FF7303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vice Adaptor</a:t>
              </a:r>
            </a:p>
          </p:txBody>
        </p:sp>
        <p:sp>
          <p:nvSpPr>
            <p:cNvPr id="41" name="Cube 40">
              <a:extLst>
                <a:ext uri="{FF2B5EF4-FFF2-40B4-BE49-F238E27FC236}">
                  <a16:creationId xmlns:a16="http://schemas.microsoft.com/office/drawing/2014/main" xmlns="" id="{1E6D69DB-90A1-4FFD-A473-586EB29D7B25}"/>
                </a:ext>
              </a:extLst>
            </p:cNvPr>
            <p:cNvSpPr/>
            <p:nvPr/>
          </p:nvSpPr>
          <p:spPr>
            <a:xfrm>
              <a:off x="5098948" y="2743200"/>
              <a:ext cx="1021080" cy="576189"/>
            </a:xfrm>
            <a:prstGeom prst="cube">
              <a:avLst>
                <a:gd name="adj" fmla="val 34842"/>
              </a:avLst>
            </a:prstGeom>
            <a:solidFill>
              <a:srgbClr val="F6A849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PS</a:t>
              </a:r>
            </a:p>
          </p:txBody>
        </p:sp>
        <p:sp>
          <p:nvSpPr>
            <p:cNvPr id="42" name="Cube 41">
              <a:extLst>
                <a:ext uri="{FF2B5EF4-FFF2-40B4-BE49-F238E27FC236}">
                  <a16:creationId xmlns:a16="http://schemas.microsoft.com/office/drawing/2014/main" xmlns="" id="{F925DFE0-2FEA-4019-85F4-A0E6DD02A453}"/>
                </a:ext>
              </a:extLst>
            </p:cNvPr>
            <p:cNvSpPr/>
            <p:nvPr/>
          </p:nvSpPr>
          <p:spPr>
            <a:xfrm>
              <a:off x="6176299" y="3079946"/>
              <a:ext cx="1021081" cy="635683"/>
            </a:xfrm>
            <a:prstGeom prst="cube">
              <a:avLst>
                <a:gd name="adj" fmla="val 34842"/>
              </a:avLst>
            </a:prstGeom>
            <a:solidFill>
              <a:srgbClr val="FF7303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vice Adaptor</a:t>
              </a:r>
            </a:p>
          </p:txBody>
        </p:sp>
        <p:sp>
          <p:nvSpPr>
            <p:cNvPr id="43" name="Cube 42">
              <a:extLst>
                <a:ext uri="{FF2B5EF4-FFF2-40B4-BE49-F238E27FC236}">
                  <a16:creationId xmlns:a16="http://schemas.microsoft.com/office/drawing/2014/main" xmlns="" id="{4B9A2FEF-BC1C-4407-93FE-57EB40BDC30E}"/>
                </a:ext>
              </a:extLst>
            </p:cNvPr>
            <p:cNvSpPr/>
            <p:nvPr/>
          </p:nvSpPr>
          <p:spPr>
            <a:xfrm>
              <a:off x="6176300" y="2720340"/>
              <a:ext cx="1021080" cy="576189"/>
            </a:xfrm>
            <a:prstGeom prst="cube">
              <a:avLst>
                <a:gd name="adj" fmla="val 34842"/>
              </a:avLst>
            </a:prstGeom>
            <a:solidFill>
              <a:srgbClr val="F6A849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PS</a:t>
              </a:r>
            </a:p>
          </p:txBody>
        </p:sp>
        <p:sp>
          <p:nvSpPr>
            <p:cNvPr id="44" name="Cube 43">
              <a:extLst>
                <a:ext uri="{FF2B5EF4-FFF2-40B4-BE49-F238E27FC236}">
                  <a16:creationId xmlns:a16="http://schemas.microsoft.com/office/drawing/2014/main" xmlns="" id="{E212028A-EFEC-42A8-9424-58A3E502C470}"/>
                </a:ext>
              </a:extLst>
            </p:cNvPr>
            <p:cNvSpPr/>
            <p:nvPr/>
          </p:nvSpPr>
          <p:spPr>
            <a:xfrm>
              <a:off x="7394028" y="3060458"/>
              <a:ext cx="1021081" cy="635683"/>
            </a:xfrm>
            <a:prstGeom prst="cube">
              <a:avLst>
                <a:gd name="adj" fmla="val 34842"/>
              </a:avLst>
            </a:prstGeom>
            <a:solidFill>
              <a:srgbClr val="FF7303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vice Adaptor</a:t>
              </a:r>
            </a:p>
          </p:txBody>
        </p:sp>
        <p:sp>
          <p:nvSpPr>
            <p:cNvPr id="45" name="Cube 44">
              <a:extLst>
                <a:ext uri="{FF2B5EF4-FFF2-40B4-BE49-F238E27FC236}">
                  <a16:creationId xmlns:a16="http://schemas.microsoft.com/office/drawing/2014/main" xmlns="" id="{0B0C7EAA-057D-4FFF-AEBC-B389BBE08CF9}"/>
                </a:ext>
              </a:extLst>
            </p:cNvPr>
            <p:cNvSpPr/>
            <p:nvPr/>
          </p:nvSpPr>
          <p:spPr>
            <a:xfrm>
              <a:off x="7394029" y="2700852"/>
              <a:ext cx="1021080" cy="576189"/>
            </a:xfrm>
            <a:prstGeom prst="cube">
              <a:avLst>
                <a:gd name="adj" fmla="val 34842"/>
              </a:avLst>
            </a:prstGeom>
            <a:solidFill>
              <a:srgbClr val="F6A849"/>
            </a:solidFill>
            <a:ln w="1905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PPS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xmlns="" id="{10965C4C-584B-4B6D-8DFC-91B0084213D8}"/>
                </a:ext>
              </a:extLst>
            </p:cNvPr>
            <p:cNvSpPr txBox="1"/>
            <p:nvPr/>
          </p:nvSpPr>
          <p:spPr>
            <a:xfrm>
              <a:off x="6016624" y="2242773"/>
              <a:ext cx="1708459" cy="4954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cs typeface="Century Gothic"/>
                </a:rPr>
                <a:t>Virtual Site</a:t>
              </a:r>
            </a:p>
          </p:txBody>
        </p:sp>
      </p:grpSp>
      <p:graphicFrame>
        <p:nvGraphicFramePr>
          <p:cNvPr id="47" name="Diagram 46">
            <a:extLst>
              <a:ext uri="{FF2B5EF4-FFF2-40B4-BE49-F238E27FC236}">
                <a16:creationId xmlns:a16="http://schemas.microsoft.com/office/drawing/2014/main" xmlns="" id="{961394EB-C500-4794-96AF-EE9EE6F10B0D}"/>
              </a:ext>
            </a:extLst>
          </p:cNvPr>
          <p:cNvGraphicFramePr/>
          <p:nvPr>
            <p:extLst/>
          </p:nvPr>
        </p:nvGraphicFramePr>
        <p:xfrm>
          <a:off x="1640124" y="927100"/>
          <a:ext cx="7612716" cy="48870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xmlns="" id="{04326F44-E92E-4ED9-92C3-CDAB9AE1ABB4}"/>
              </a:ext>
            </a:extLst>
          </p:cNvPr>
          <p:cNvCxnSpPr/>
          <p:nvPr/>
        </p:nvCxnSpPr>
        <p:spPr>
          <a:xfrm flipV="1">
            <a:off x="5442839" y="2276031"/>
            <a:ext cx="0" cy="457200"/>
          </a:xfrm>
          <a:prstGeom prst="straightConnector1">
            <a:avLst/>
          </a:prstGeom>
          <a:noFill/>
          <a:ln w="28575" cap="flat" cmpd="sng" algn="ctr">
            <a:solidFill>
              <a:srgbClr val="00906E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xmlns="" id="{9D2B8269-3B22-4827-BA4F-43995F06E0CA}"/>
              </a:ext>
            </a:extLst>
          </p:cNvPr>
          <p:cNvCxnSpPr/>
          <p:nvPr/>
        </p:nvCxnSpPr>
        <p:spPr>
          <a:xfrm flipV="1">
            <a:off x="4341220" y="3926854"/>
            <a:ext cx="392332" cy="261654"/>
          </a:xfrm>
          <a:prstGeom prst="straightConnector1">
            <a:avLst/>
          </a:prstGeom>
          <a:noFill/>
          <a:ln w="28575" cap="flat" cmpd="sng" algn="ctr">
            <a:solidFill>
              <a:srgbClr val="00906E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xmlns="" id="{320376D6-ED95-45E3-8878-F6779B62D091}"/>
              </a:ext>
            </a:extLst>
          </p:cNvPr>
          <p:cNvCxnSpPr/>
          <p:nvPr/>
        </p:nvCxnSpPr>
        <p:spPr>
          <a:xfrm flipH="1" flipV="1">
            <a:off x="6131582" y="3958657"/>
            <a:ext cx="403117" cy="307776"/>
          </a:xfrm>
          <a:prstGeom prst="straightConnector1">
            <a:avLst/>
          </a:prstGeom>
          <a:noFill/>
          <a:ln w="28575" cap="flat" cmpd="sng" algn="ctr">
            <a:solidFill>
              <a:srgbClr val="00906E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xmlns="" id="{9AD07E60-FF5F-4C29-B6B2-7CA95966ED04}"/>
              </a:ext>
            </a:extLst>
          </p:cNvPr>
          <p:cNvCxnSpPr/>
          <p:nvPr/>
        </p:nvCxnSpPr>
        <p:spPr>
          <a:xfrm flipH="1">
            <a:off x="4638986" y="4603281"/>
            <a:ext cx="1554022" cy="0"/>
          </a:xfrm>
          <a:prstGeom prst="straightConnector1">
            <a:avLst/>
          </a:prstGeom>
          <a:noFill/>
          <a:ln w="28575" cap="flat" cmpd="sng" algn="ctr">
            <a:solidFill>
              <a:srgbClr val="00906E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10393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 25"/>
          <p:cNvSpPr/>
          <p:nvPr/>
        </p:nvSpPr>
        <p:spPr>
          <a:xfrm>
            <a:off x="-13758" y="-19900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rgbClr val="FF7321"/>
          </a:solidFill>
          <a:ln w="3175">
            <a:noFill/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8380" y="1035208"/>
            <a:ext cx="3265274" cy="12849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80"/>
              </a:lnSpc>
              <a:buClr>
                <a:srgbClr val="FF7321"/>
              </a:buClr>
            </a:pPr>
            <a:r>
              <a:rPr lang="en-US" sz="2900" b="1" spc="1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Applications for </a:t>
            </a:r>
          </a:p>
          <a:p>
            <a:pPr>
              <a:lnSpc>
                <a:spcPts val="3080"/>
              </a:lnSpc>
              <a:buClr>
                <a:srgbClr val="FF7321"/>
              </a:buClr>
            </a:pPr>
            <a:r>
              <a:rPr lang="en-US" sz="2900" b="1" spc="100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Greensmith solutions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3">
            <a:alphaModFix amt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17358"/>
            <a:ext cx="674624" cy="690880"/>
          </a:xfrm>
          <a:prstGeom prst="rect">
            <a:avLst/>
          </a:prstGeom>
          <a:noFill/>
        </p:spPr>
      </p:pic>
      <p:sp>
        <p:nvSpPr>
          <p:cNvPr id="6" name="Rectangle 5"/>
          <p:cNvSpPr/>
          <p:nvPr/>
        </p:nvSpPr>
        <p:spPr>
          <a:xfrm>
            <a:off x="276218" y="1020721"/>
            <a:ext cx="3835507" cy="275457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2000" b="1" dirty="0">
                <a:solidFill>
                  <a:schemeClr val="accent2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Grid Reliability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Frequency controls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Volt/VAR control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1</a:t>
            </a:r>
            <a:r>
              <a:rPr lang="en-US" sz="2000" baseline="30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ary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 and 2</a:t>
            </a:r>
            <a:r>
              <a:rPr lang="en-US" sz="2000" baseline="30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ary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 Reserves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Distribution deferral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Peak Shifting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Load Leveling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456109" y="1025978"/>
            <a:ext cx="3835507" cy="2754576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2000" b="1" dirty="0">
                <a:solidFill>
                  <a:schemeClr val="accent2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Thermal generation optimization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Power to grid time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Spinning reserve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Grid forming capability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O&amp;M optimization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76218" y="4004937"/>
            <a:ext cx="3835507" cy="2814792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2000" b="1" dirty="0">
                <a:solidFill>
                  <a:schemeClr val="accent2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Renewable Integration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PV Ramp Control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PV Smoothing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PV Firming and Shifting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Curtailment Capture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Capacity-based Solar PPA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4456109" y="4007880"/>
            <a:ext cx="3835507" cy="2767951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2000" b="1" dirty="0">
                <a:solidFill>
                  <a:schemeClr val="accent2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Micro grid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On grid/off grid seamless transfer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Renewables integration/ grid forming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Renewables integration</a:t>
            </a:r>
          </a:p>
          <a:p>
            <a:pPr marL="171450" indent="-171450">
              <a:lnSpc>
                <a:spcPct val="120000"/>
              </a:lnSpc>
              <a:buClr>
                <a:srgbClr val="FF7321"/>
              </a:buClr>
              <a:buSzPct val="75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Helvetica Neue Light" charset="0"/>
                <a:cs typeface="Arial" panose="020B0604020202020204" pitchFamily="34" charset="0"/>
              </a:rPr>
              <a:t>Black star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890051" y="58434"/>
            <a:ext cx="55335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chemeClr val="bg1">
                    <a:alpha val="45000"/>
                  </a:schemeClr>
                </a:solidFill>
                <a:latin typeface="Helvetica Neue" charset="0"/>
                <a:ea typeface="Helvetica Neue" charset="0"/>
                <a:cs typeface="Helvetica Neue" charset="0"/>
              </a:rPr>
              <a:t>+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007239" y="3459031"/>
            <a:ext cx="55335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chemeClr val="accent2"/>
                </a:solidFill>
                <a:latin typeface="Helvetica Neue" charset="0"/>
                <a:ea typeface="Helvetica Neue" charset="0"/>
                <a:cs typeface="Helvetica Neue" charset="0"/>
              </a:rPr>
              <a:t>+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919149" y="5877241"/>
            <a:ext cx="55335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 b="1" dirty="0">
                <a:solidFill>
                  <a:schemeClr val="bg1">
                    <a:alpha val="45000"/>
                  </a:schemeClr>
                </a:solidFill>
                <a:latin typeface="Helvetica Neue" charset="0"/>
                <a:ea typeface="Helvetica Neue" charset="0"/>
                <a:cs typeface="Helvetica Neue" charset="0"/>
              </a:rPr>
              <a:t>+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pic>
        <p:nvPicPr>
          <p:cNvPr id="31" name="Picture Placeholder 5">
            <a:extLst>
              <a:ext uri="{FF2B5EF4-FFF2-40B4-BE49-F238E27FC236}">
                <a16:creationId xmlns:a16="http://schemas.microsoft.com/office/drawing/2014/main" xmlns="" id="{04DAC1A5-697E-7449-B1CE-1656B6BCD20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061" r="21375"/>
          <a:stretch/>
        </p:blipFill>
        <p:spPr>
          <a:xfrm>
            <a:off x="8636000" y="4364"/>
            <a:ext cx="3556000" cy="6857998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AD78CC4C-90AD-4D36-83E0-D74A6FF60DA1}"/>
              </a:ext>
            </a:extLst>
          </p:cNvPr>
          <p:cNvSpPr txBox="1"/>
          <p:nvPr/>
        </p:nvSpPr>
        <p:spPr>
          <a:xfrm>
            <a:off x="87294" y="23584"/>
            <a:ext cx="27809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GEMS - ALL REVENUE MODELS</a:t>
            </a:r>
          </a:p>
        </p:txBody>
      </p:sp>
    </p:spTree>
    <p:extLst>
      <p:ext uri="{BB962C8B-B14F-4D97-AF65-F5344CB8AC3E}">
        <p14:creationId xmlns:p14="http://schemas.microsoft.com/office/powerpoint/2010/main" val="2655853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/>
              <a:t>2.8.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[Presentation name / Author]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/>
              <a:t>2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-3600" y="-14372"/>
            <a:ext cx="1738993" cy="433553"/>
          </a:xfrm>
        </p:spPr>
        <p:txBody>
          <a:bodyPr/>
          <a:lstStyle/>
          <a:p>
            <a:r>
              <a:rPr lang="en-US" dirty="0" smtClean="0"/>
              <a:t>Remember?</a:t>
            </a:r>
            <a:endParaRPr lang="en-GB" dirty="0"/>
          </a:p>
        </p:txBody>
      </p:sp>
      <p:pic>
        <p:nvPicPr>
          <p:cNvPr id="8" name="Bildplatzhalter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4607628" y="716853"/>
            <a:ext cx="7846242" cy="5884682"/>
          </a:xfrm>
          <a:custGeom>
            <a:avLst/>
            <a:gdLst>
              <a:gd name="connsiteX0" fmla="*/ 0 w 4463369"/>
              <a:gd name="connsiteY0" fmla="*/ 423863 h 423863"/>
              <a:gd name="connsiteX1" fmla="*/ 247481 w 4463369"/>
              <a:gd name="connsiteY1" fmla="*/ 0 h 423863"/>
              <a:gd name="connsiteX2" fmla="*/ 4463369 w 4463369"/>
              <a:gd name="connsiteY2" fmla="*/ 0 h 423863"/>
              <a:gd name="connsiteX3" fmla="*/ 4215888 w 4463369"/>
              <a:gd name="connsiteY3" fmla="*/ 423863 h 423863"/>
              <a:gd name="connsiteX4" fmla="*/ 0 w 4463369"/>
              <a:gd name="connsiteY4" fmla="*/ 423863 h 423863"/>
              <a:gd name="connsiteX0" fmla="*/ 0 w 4223883"/>
              <a:gd name="connsiteY0" fmla="*/ 412978 h 423863"/>
              <a:gd name="connsiteX1" fmla="*/ 7995 w 4223883"/>
              <a:gd name="connsiteY1" fmla="*/ 0 h 423863"/>
              <a:gd name="connsiteX2" fmla="*/ 4223883 w 4223883"/>
              <a:gd name="connsiteY2" fmla="*/ 0 h 423863"/>
              <a:gd name="connsiteX3" fmla="*/ 3976402 w 4223883"/>
              <a:gd name="connsiteY3" fmla="*/ 423863 h 423863"/>
              <a:gd name="connsiteX4" fmla="*/ 0 w 4223883"/>
              <a:gd name="connsiteY4" fmla="*/ 412978 h 423863"/>
              <a:gd name="connsiteX0" fmla="*/ 0 w 4223883"/>
              <a:gd name="connsiteY0" fmla="*/ 412978 h 435062"/>
              <a:gd name="connsiteX1" fmla="*/ 7995 w 4223883"/>
              <a:gd name="connsiteY1" fmla="*/ 0 h 435062"/>
              <a:gd name="connsiteX2" fmla="*/ 4223883 w 4223883"/>
              <a:gd name="connsiteY2" fmla="*/ 0 h 435062"/>
              <a:gd name="connsiteX3" fmla="*/ 4118977 w 4223883"/>
              <a:gd name="connsiteY3" fmla="*/ 435062 h 435062"/>
              <a:gd name="connsiteX4" fmla="*/ 0 w 4223883"/>
              <a:gd name="connsiteY4" fmla="*/ 412978 h 435062"/>
              <a:gd name="connsiteX0" fmla="*/ 0 w 4251763"/>
              <a:gd name="connsiteY0" fmla="*/ 412978 h 435062"/>
              <a:gd name="connsiteX1" fmla="*/ 7995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12978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12978 h 435062"/>
              <a:gd name="connsiteX0" fmla="*/ 0 w 4251763"/>
              <a:gd name="connsiteY0" fmla="*/ 420522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20522 h 435062"/>
              <a:gd name="connsiteX0" fmla="*/ 0 w 4251763"/>
              <a:gd name="connsiteY0" fmla="*/ 438123 h 438123"/>
              <a:gd name="connsiteX1" fmla="*/ 1347 w 4251763"/>
              <a:gd name="connsiteY1" fmla="*/ 0 h 438123"/>
              <a:gd name="connsiteX2" fmla="*/ 4251763 w 4251763"/>
              <a:gd name="connsiteY2" fmla="*/ 3266 h 438123"/>
              <a:gd name="connsiteX3" fmla="*/ 4118977 w 4251763"/>
              <a:gd name="connsiteY3" fmla="*/ 435062 h 438123"/>
              <a:gd name="connsiteX4" fmla="*/ 0 w 4251763"/>
              <a:gd name="connsiteY4" fmla="*/ 438123 h 438123"/>
              <a:gd name="connsiteX0" fmla="*/ 0 w 4251763"/>
              <a:gd name="connsiteY0" fmla="*/ 433093 h 435062"/>
              <a:gd name="connsiteX1" fmla="*/ 1347 w 4251763"/>
              <a:gd name="connsiteY1" fmla="*/ 0 h 435062"/>
              <a:gd name="connsiteX2" fmla="*/ 4251763 w 4251763"/>
              <a:gd name="connsiteY2" fmla="*/ 3266 h 435062"/>
              <a:gd name="connsiteX3" fmla="*/ 4118977 w 4251763"/>
              <a:gd name="connsiteY3" fmla="*/ 435062 h 435062"/>
              <a:gd name="connsiteX4" fmla="*/ 0 w 4251763"/>
              <a:gd name="connsiteY4" fmla="*/ 433093 h 435062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33093 h 433093"/>
              <a:gd name="connsiteX1" fmla="*/ 1347 w 4251763"/>
              <a:gd name="connsiteY1" fmla="*/ 0 h 433093"/>
              <a:gd name="connsiteX2" fmla="*/ 4251763 w 4251763"/>
              <a:gd name="connsiteY2" fmla="*/ 3266 h 433093"/>
              <a:gd name="connsiteX3" fmla="*/ 4118977 w 4251763"/>
              <a:gd name="connsiteY3" fmla="*/ 432548 h 433093"/>
              <a:gd name="connsiteX4" fmla="*/ 0 w 4251763"/>
              <a:gd name="connsiteY4" fmla="*/ 433093 h 433093"/>
              <a:gd name="connsiteX0" fmla="*/ 0 w 4251763"/>
              <a:gd name="connsiteY0" fmla="*/ 429827 h 429827"/>
              <a:gd name="connsiteX1" fmla="*/ 1347 w 4251763"/>
              <a:gd name="connsiteY1" fmla="*/ 6792 h 429827"/>
              <a:gd name="connsiteX2" fmla="*/ 4251763 w 4251763"/>
              <a:gd name="connsiteY2" fmla="*/ 0 h 429827"/>
              <a:gd name="connsiteX3" fmla="*/ 4118977 w 4251763"/>
              <a:gd name="connsiteY3" fmla="*/ 429282 h 429827"/>
              <a:gd name="connsiteX4" fmla="*/ 0 w 4251763"/>
              <a:gd name="connsiteY4" fmla="*/ 429827 h 429827"/>
              <a:gd name="connsiteX0" fmla="*/ 0 w 4251763"/>
              <a:gd name="connsiteY0" fmla="*/ 430579 h 430579"/>
              <a:gd name="connsiteX1" fmla="*/ 4671 w 4251763"/>
              <a:gd name="connsiteY1" fmla="*/ 0 h 430579"/>
              <a:gd name="connsiteX2" fmla="*/ 4251763 w 4251763"/>
              <a:gd name="connsiteY2" fmla="*/ 752 h 430579"/>
              <a:gd name="connsiteX3" fmla="*/ 4118977 w 4251763"/>
              <a:gd name="connsiteY3" fmla="*/ 430034 h 430579"/>
              <a:gd name="connsiteX4" fmla="*/ 0 w 4251763"/>
              <a:gd name="connsiteY4" fmla="*/ 430579 h 430579"/>
              <a:gd name="connsiteX0" fmla="*/ 1975 w 4253738"/>
              <a:gd name="connsiteY0" fmla="*/ 429827 h 429827"/>
              <a:gd name="connsiteX1" fmla="*/ 0 w 4253738"/>
              <a:gd name="connsiteY1" fmla="*/ 4278 h 429827"/>
              <a:gd name="connsiteX2" fmla="*/ 4253738 w 4253738"/>
              <a:gd name="connsiteY2" fmla="*/ 0 h 429827"/>
              <a:gd name="connsiteX3" fmla="*/ 4120952 w 4253738"/>
              <a:gd name="connsiteY3" fmla="*/ 429282 h 429827"/>
              <a:gd name="connsiteX4" fmla="*/ 1975 w 4253738"/>
              <a:gd name="connsiteY4" fmla="*/ 429827 h 429827"/>
              <a:gd name="connsiteX0" fmla="*/ 1975 w 4253738"/>
              <a:gd name="connsiteY0" fmla="*/ 430579 h 430579"/>
              <a:gd name="connsiteX1" fmla="*/ 0 w 4253738"/>
              <a:gd name="connsiteY1" fmla="*/ 0 h 430579"/>
              <a:gd name="connsiteX2" fmla="*/ 4253738 w 4253738"/>
              <a:gd name="connsiteY2" fmla="*/ 752 h 430579"/>
              <a:gd name="connsiteX3" fmla="*/ 4120952 w 4253738"/>
              <a:gd name="connsiteY3" fmla="*/ 430034 h 430579"/>
              <a:gd name="connsiteX4" fmla="*/ 1975 w 4253738"/>
              <a:gd name="connsiteY4" fmla="*/ 430579 h 430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3738" h="430579">
                <a:moveTo>
                  <a:pt x="1975" y="430579"/>
                </a:moveTo>
                <a:cubicBezTo>
                  <a:pt x="1317" y="288729"/>
                  <a:pt x="658" y="141850"/>
                  <a:pt x="0" y="0"/>
                </a:cubicBezTo>
                <a:lnTo>
                  <a:pt x="4253738" y="752"/>
                </a:lnTo>
                <a:lnTo>
                  <a:pt x="4120952" y="430034"/>
                </a:lnTo>
                <a:lnTo>
                  <a:pt x="1975" y="430579"/>
                </a:lnTo>
                <a:close/>
              </a:path>
            </a:pathLst>
          </a:custGeom>
          <a:solidFill>
            <a:srgbClr val="004A6B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0451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Date Placeholder 1">
            <a:extLst>
              <a:ext uri="{FF2B5EF4-FFF2-40B4-BE49-F238E27FC236}">
                <a16:creationId xmlns:a16="http://schemas.microsoft.com/office/drawing/2014/main" xmlns="" id="{5279DEAB-2951-471D-8DEA-BF2436587A44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642100"/>
            <a:ext cx="1003300" cy="179388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34" name="Footer Placeholder 2">
            <a:extLst>
              <a:ext uri="{FF2B5EF4-FFF2-40B4-BE49-F238E27FC236}">
                <a16:creationId xmlns:a16="http://schemas.microsoft.com/office/drawing/2014/main" xmlns="" id="{DF4CE9EE-7D60-4AC4-8386-D701AC2E0119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640513"/>
            <a:ext cx="2619375" cy="180975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6D4D34AD-4FE0-9C46-87CF-FD47BC4B390B}"/>
              </a:ext>
            </a:extLst>
          </p:cNvPr>
          <p:cNvSpPr txBox="1"/>
          <p:nvPr/>
        </p:nvSpPr>
        <p:spPr>
          <a:xfrm>
            <a:off x="297359" y="84068"/>
            <a:ext cx="2780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FUTURE-PROOF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B4A7619D-2375-450F-BBC3-2C35D7C129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0569" y="1458097"/>
            <a:ext cx="9383317" cy="3808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982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652642" y="4461089"/>
            <a:ext cx="9274437" cy="1508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Rectangle 50"/>
          <p:cNvSpPr/>
          <p:nvPr/>
        </p:nvSpPr>
        <p:spPr>
          <a:xfrm>
            <a:off x="1683308" y="2301318"/>
            <a:ext cx="9274437" cy="15133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04691" y="172999"/>
            <a:ext cx="239630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80"/>
              </a:lnSpc>
            </a:pPr>
            <a:r>
              <a:rPr lang="en-US" b="1" cap="all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Overview</a:t>
            </a:r>
          </a:p>
          <a:p>
            <a:pPr>
              <a:lnSpc>
                <a:spcPts val="1480"/>
              </a:lnSpc>
            </a:pPr>
            <a:endParaRPr lang="en-US" sz="1400" b="1" dirty="0">
              <a:solidFill>
                <a:schemeClr val="bg1"/>
              </a:solidFill>
              <a:latin typeface="Helvetica Neue" charset="0"/>
              <a:ea typeface="Helvetica Neue" charset="0"/>
              <a:cs typeface="Helvetica Neue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74183" y="1035410"/>
            <a:ext cx="7514484" cy="88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80"/>
              </a:lnSpc>
              <a:buClr>
                <a:srgbClr val="FF7321"/>
              </a:buClr>
            </a:pPr>
            <a:r>
              <a:rPr lang="en-US" sz="2900" b="1" spc="100" dirty="0">
                <a:solidFill>
                  <a:srgbClr val="0F334A"/>
                </a:solidFill>
                <a:latin typeface="Helvetica Neue" charset="0"/>
                <a:ea typeface="Helvetica Neue" charset="0"/>
                <a:cs typeface="Helvetica Neue" charset="0"/>
              </a:rPr>
              <a:t>Technology neutral.</a:t>
            </a:r>
          </a:p>
          <a:p>
            <a:pPr>
              <a:lnSpc>
                <a:spcPts val="3080"/>
              </a:lnSpc>
              <a:buClr>
                <a:srgbClr val="FF7321"/>
              </a:buClr>
            </a:pPr>
            <a:r>
              <a:rPr lang="en-US" sz="2900" b="1" spc="100" dirty="0">
                <a:solidFill>
                  <a:srgbClr val="00935E"/>
                </a:solidFill>
                <a:latin typeface="Helvetica Neue" charset="0"/>
                <a:ea typeface="Helvetica Neue" charset="0"/>
                <a:cs typeface="Helvetica Neue" charset="0"/>
              </a:rPr>
              <a:t>Total flexibility.</a:t>
            </a: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2082" y="2959960"/>
            <a:ext cx="438150" cy="59252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11438" y="5502719"/>
            <a:ext cx="537809" cy="213008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3734" y="5397729"/>
            <a:ext cx="754559" cy="294256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94001" y="4866131"/>
            <a:ext cx="813218" cy="130697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8221" y="2489883"/>
            <a:ext cx="636827" cy="514523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864" y="2506114"/>
            <a:ext cx="1032611" cy="419498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26213" y="2575282"/>
            <a:ext cx="771793" cy="34876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8766" y="5504162"/>
            <a:ext cx="1066835" cy="176659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779" y="2513092"/>
            <a:ext cx="615562" cy="42249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9864" y="3147356"/>
            <a:ext cx="872584" cy="405128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1561202" y="4112939"/>
            <a:ext cx="27597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5F6369"/>
                </a:solidFill>
                <a:latin typeface="Helvetica Neue" charset="0"/>
                <a:ea typeface="Helvetica Neue" charset="0"/>
                <a:cs typeface="Helvetica Neue" charset="0"/>
              </a:rPr>
              <a:t>Power electronic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601012" y="1949313"/>
            <a:ext cx="13934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5F6369"/>
                </a:solidFill>
                <a:latin typeface="Helvetica Neue" charset="0"/>
                <a:ea typeface="Helvetica Neue" charset="0"/>
                <a:cs typeface="Helvetica Neue" charset="0"/>
              </a:rPr>
              <a:t>Batteries</a:t>
            </a: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7513" y="3263645"/>
            <a:ext cx="921606" cy="258049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4701" y="3136927"/>
            <a:ext cx="929581" cy="429093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55449" y="3298790"/>
            <a:ext cx="1093574" cy="228242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06568" y="2554821"/>
            <a:ext cx="1271234" cy="322084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3221" y="4822155"/>
            <a:ext cx="994079" cy="213163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9870" y="5512284"/>
            <a:ext cx="1024412" cy="179813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90193" y="5323790"/>
            <a:ext cx="523908" cy="458456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1405" y="2523516"/>
            <a:ext cx="686954" cy="384694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6326" y="5385439"/>
            <a:ext cx="584836" cy="365523"/>
          </a:xfrm>
          <a:prstGeom prst="rect">
            <a:avLst/>
          </a:prstGeom>
        </p:spPr>
      </p:pic>
      <p:pic>
        <p:nvPicPr>
          <p:cNvPr id="46" name="Picture 45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1563" y="3246250"/>
            <a:ext cx="1375240" cy="330298"/>
          </a:xfrm>
          <a:prstGeom prst="rect">
            <a:avLst/>
          </a:prstGeom>
        </p:spPr>
      </p:pic>
      <p:pic>
        <p:nvPicPr>
          <p:cNvPr id="47" name="Picture 46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9966" y="4837856"/>
            <a:ext cx="963319" cy="181759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73853" y="4867002"/>
            <a:ext cx="752898" cy="231247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356"/>
          <a:stretch/>
        </p:blipFill>
        <p:spPr>
          <a:xfrm>
            <a:off x="9266169" y="4789767"/>
            <a:ext cx="1031584" cy="379872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7759" y="4725699"/>
            <a:ext cx="542323" cy="33760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408962" y="6200135"/>
            <a:ext cx="2743200" cy="365125"/>
          </a:xfrm>
        </p:spPr>
        <p:txBody>
          <a:bodyPr/>
          <a:lstStyle/>
          <a:p>
            <a:fld id="{6132E56D-1C1A-C945-8CD9-D0E5389C3164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956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82514F05-0B97-4E4E-AAE6-B92B94F7B2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ttery Chemistry for Every Applic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47E28A9-813C-0F4A-B38B-11FE36E29C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08564" y="21647"/>
            <a:ext cx="2719643" cy="692030"/>
          </a:xfrm>
        </p:spPr>
        <p:txBody>
          <a:bodyPr>
            <a:normAutofit/>
          </a:bodyPr>
          <a:lstStyle/>
          <a:p>
            <a:r>
              <a:rPr lang="en-US" sz="1800" dirty="0"/>
              <a:t>OVERVIEW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xmlns="" id="{4C5D227D-B860-4B49-9207-BCA4C58B1771}"/>
              </a:ext>
            </a:extLst>
          </p:cNvPr>
          <p:cNvCxnSpPr/>
          <p:nvPr/>
        </p:nvCxnSpPr>
        <p:spPr>
          <a:xfrm>
            <a:off x="5312287" y="5582197"/>
            <a:ext cx="6705600" cy="0"/>
          </a:xfrm>
          <a:prstGeom prst="line">
            <a:avLst/>
          </a:prstGeom>
          <a:noFill/>
          <a:ln w="19050" cap="flat" cmpd="sng" algn="ctr">
            <a:solidFill>
              <a:srgbClr val="629DD1"/>
            </a:solidFill>
            <a:prstDash val="solid"/>
          </a:ln>
          <a:effectLst/>
        </p:spPr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xmlns="" id="{CEBD8660-E2DB-B34C-9191-C0B0490DF66A}"/>
              </a:ext>
            </a:extLst>
          </p:cNvPr>
          <p:cNvCxnSpPr/>
          <p:nvPr/>
        </p:nvCxnSpPr>
        <p:spPr>
          <a:xfrm flipV="1">
            <a:off x="5312287" y="1695997"/>
            <a:ext cx="0" cy="3886200"/>
          </a:xfrm>
          <a:prstGeom prst="line">
            <a:avLst/>
          </a:prstGeom>
          <a:noFill/>
          <a:ln w="19050" cap="flat" cmpd="sng" algn="ctr">
            <a:solidFill>
              <a:srgbClr val="629DD1"/>
            </a:solidFill>
            <a:prstDash val="solid"/>
          </a:ln>
          <a:effectLst/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AC94251D-897F-5F40-AB22-6616AF3EF868}"/>
              </a:ext>
            </a:extLst>
          </p:cNvPr>
          <p:cNvSpPr txBox="1"/>
          <p:nvPr/>
        </p:nvSpPr>
        <p:spPr>
          <a:xfrm>
            <a:off x="7141087" y="5974865"/>
            <a:ext cx="3276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System Power Rating (MW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3438864A-B540-F543-B227-99C21C3AEF10}"/>
              </a:ext>
            </a:extLst>
          </p:cNvPr>
          <p:cNvSpPr txBox="1"/>
          <p:nvPr/>
        </p:nvSpPr>
        <p:spPr>
          <a:xfrm rot="16200000">
            <a:off x="2563254" y="3485209"/>
            <a:ext cx="3886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Energy Discharge Time at Rated Pow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5A88C0DF-AB33-5B4E-9ADB-52F7E8FD92F3}"/>
              </a:ext>
            </a:extLst>
          </p:cNvPr>
          <p:cNvSpPr txBox="1"/>
          <p:nvPr/>
        </p:nvSpPr>
        <p:spPr>
          <a:xfrm>
            <a:off x="4397887" y="4743997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Second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B5E3C8C9-85E3-2E4B-8891-0E72497F948E}"/>
              </a:ext>
            </a:extLst>
          </p:cNvPr>
          <p:cNvSpPr txBox="1"/>
          <p:nvPr/>
        </p:nvSpPr>
        <p:spPr>
          <a:xfrm>
            <a:off x="4397887" y="3575681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Minut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7965D65-CF81-B54D-8148-7A4F5408A3C9}"/>
              </a:ext>
            </a:extLst>
          </p:cNvPr>
          <p:cNvSpPr txBox="1"/>
          <p:nvPr/>
        </p:nvSpPr>
        <p:spPr>
          <a:xfrm>
            <a:off x="4397887" y="2153197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Hou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A7F7930-CC41-2E48-A87F-D6FCB5FB8FD3}"/>
              </a:ext>
            </a:extLst>
          </p:cNvPr>
          <p:cNvSpPr txBox="1"/>
          <p:nvPr/>
        </p:nvSpPr>
        <p:spPr>
          <a:xfrm>
            <a:off x="6150487" y="5633081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100 kW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4598F589-15C0-7241-956F-6EC49368F32A}"/>
              </a:ext>
            </a:extLst>
          </p:cNvPr>
          <p:cNvSpPr txBox="1"/>
          <p:nvPr/>
        </p:nvSpPr>
        <p:spPr>
          <a:xfrm>
            <a:off x="7141087" y="5633081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1 MW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C8001EC2-3123-7645-8AE7-0392454E244B}"/>
              </a:ext>
            </a:extLst>
          </p:cNvPr>
          <p:cNvSpPr txBox="1"/>
          <p:nvPr/>
        </p:nvSpPr>
        <p:spPr>
          <a:xfrm>
            <a:off x="8360287" y="5633081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10 MW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055751F8-2ECF-0441-9D49-9185D7AD7865}"/>
              </a:ext>
            </a:extLst>
          </p:cNvPr>
          <p:cNvSpPr txBox="1"/>
          <p:nvPr/>
        </p:nvSpPr>
        <p:spPr>
          <a:xfrm>
            <a:off x="9731887" y="5633081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100 MW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55733731-C75D-2B45-8428-7F91855A2B50}"/>
              </a:ext>
            </a:extLst>
          </p:cNvPr>
          <p:cNvSpPr txBox="1"/>
          <p:nvPr/>
        </p:nvSpPr>
        <p:spPr>
          <a:xfrm>
            <a:off x="11027287" y="5633081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1,000 MW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693A25B9-38C6-7B47-84A0-1969CA6E7A7F}"/>
              </a:ext>
            </a:extLst>
          </p:cNvPr>
          <p:cNvSpPr txBox="1"/>
          <p:nvPr/>
        </p:nvSpPr>
        <p:spPr>
          <a:xfrm>
            <a:off x="5388487" y="5633081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10 kW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AD5A2BED-1F0F-4F4B-A7CB-38EBE58A9783}"/>
              </a:ext>
            </a:extLst>
          </p:cNvPr>
          <p:cNvSpPr txBox="1"/>
          <p:nvPr/>
        </p:nvSpPr>
        <p:spPr>
          <a:xfrm>
            <a:off x="4778887" y="5633081"/>
            <a:ext cx="914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1 kW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4C204C69-17EC-CE40-9D65-C6AD2A07CFD4}"/>
              </a:ext>
            </a:extLst>
          </p:cNvPr>
          <p:cNvSpPr/>
          <p:nvPr/>
        </p:nvSpPr>
        <p:spPr>
          <a:xfrm>
            <a:off x="5350387" y="1734097"/>
            <a:ext cx="1409700" cy="3810000"/>
          </a:xfrm>
          <a:prstGeom prst="rect">
            <a:avLst/>
          </a:prstGeom>
          <a:solidFill>
            <a:srgbClr val="297FD5">
              <a:lumMod val="20000"/>
              <a:lumOff val="80000"/>
            </a:srgbClr>
          </a:solidFill>
          <a:ln w="10000" cap="flat" cmpd="sng" algn="ctr">
            <a:solidFill>
              <a:srgbClr val="629DD1"/>
            </a:solidFill>
            <a:prstDash val="solid"/>
          </a:ln>
          <a:effectLst>
            <a:outerShdw blurRad="31750" dist="25400" dir="5400000" rotWithShape="0">
              <a:srgbClr val="000000">
                <a:alpha val="50000"/>
              </a:srgb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56565B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475B8DD9-B421-124C-B2F1-506CD1ABE5B4}"/>
              </a:ext>
            </a:extLst>
          </p:cNvPr>
          <p:cNvSpPr/>
          <p:nvPr/>
        </p:nvSpPr>
        <p:spPr>
          <a:xfrm>
            <a:off x="6760087" y="1734097"/>
            <a:ext cx="2286000" cy="3810000"/>
          </a:xfrm>
          <a:prstGeom prst="rect">
            <a:avLst/>
          </a:prstGeom>
          <a:solidFill>
            <a:srgbClr val="629DD1">
              <a:lumMod val="40000"/>
              <a:lumOff val="60000"/>
            </a:srgbClr>
          </a:solidFill>
          <a:ln w="10000" cap="flat" cmpd="sng" algn="ctr">
            <a:solidFill>
              <a:srgbClr val="629DD1"/>
            </a:solidFill>
            <a:prstDash val="solid"/>
          </a:ln>
          <a:effectLst>
            <a:outerShdw blurRad="31750" dist="25400" dir="5400000" rotWithShape="0">
              <a:srgbClr val="000000">
                <a:alpha val="50000"/>
              </a:srgb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56565B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4EFCD52F-A487-A449-8B9C-910B2F175F88}"/>
              </a:ext>
            </a:extLst>
          </p:cNvPr>
          <p:cNvSpPr/>
          <p:nvPr/>
        </p:nvSpPr>
        <p:spPr>
          <a:xfrm>
            <a:off x="9046087" y="1734097"/>
            <a:ext cx="2590800" cy="3810000"/>
          </a:xfrm>
          <a:prstGeom prst="rect">
            <a:avLst/>
          </a:prstGeom>
          <a:solidFill>
            <a:srgbClr val="7F8FA9">
              <a:lumMod val="40000"/>
              <a:lumOff val="60000"/>
            </a:srgbClr>
          </a:solidFill>
          <a:ln w="10000" cap="flat" cmpd="sng" algn="ctr">
            <a:solidFill>
              <a:srgbClr val="629DD1"/>
            </a:solidFill>
            <a:prstDash val="solid"/>
          </a:ln>
          <a:effectLst>
            <a:outerShdw blurRad="31750" dist="25400" dir="5400000" rotWithShape="0">
              <a:srgbClr val="000000">
                <a:alpha val="50000"/>
              </a:srgb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>
              <a:solidFill>
                <a:srgbClr val="56565B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0632AD0C-0014-C040-ABE9-D8C69487B07F}"/>
              </a:ext>
            </a:extLst>
          </p:cNvPr>
          <p:cNvSpPr txBox="1"/>
          <p:nvPr/>
        </p:nvSpPr>
        <p:spPr>
          <a:xfrm>
            <a:off x="5388487" y="1695998"/>
            <a:ext cx="106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UP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FF3114B5-5CE1-4D4C-B17B-DE248A00FDA5}"/>
              </a:ext>
            </a:extLst>
          </p:cNvPr>
          <p:cNvSpPr txBox="1"/>
          <p:nvPr/>
        </p:nvSpPr>
        <p:spPr>
          <a:xfrm>
            <a:off x="6760087" y="1695998"/>
            <a:ext cx="1524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Grid Suppor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1475DB49-700D-1F46-83CC-58AB62C90DAC}"/>
              </a:ext>
            </a:extLst>
          </p:cNvPr>
          <p:cNvSpPr txBox="1"/>
          <p:nvPr/>
        </p:nvSpPr>
        <p:spPr>
          <a:xfrm>
            <a:off x="9046087" y="1695998"/>
            <a:ext cx="19812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Energy Manage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90834A56-8648-AE41-94B1-B5BBE169E244}"/>
              </a:ext>
            </a:extLst>
          </p:cNvPr>
          <p:cNvSpPr txBox="1"/>
          <p:nvPr/>
        </p:nvSpPr>
        <p:spPr>
          <a:xfrm>
            <a:off x="5388487" y="1921620"/>
            <a:ext cx="1143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Power Quality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4D7324A3-29F5-7E4C-B3CC-A5FB9C0B079E}"/>
              </a:ext>
            </a:extLst>
          </p:cNvPr>
          <p:cNvSpPr txBox="1"/>
          <p:nvPr/>
        </p:nvSpPr>
        <p:spPr>
          <a:xfrm>
            <a:off x="6455287" y="1899281"/>
            <a:ext cx="1143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Load Shifting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7438BB4B-3A03-EC40-85E7-CBF46D373732}"/>
              </a:ext>
            </a:extLst>
          </p:cNvPr>
          <p:cNvSpPr txBox="1"/>
          <p:nvPr/>
        </p:nvSpPr>
        <p:spPr>
          <a:xfrm>
            <a:off x="7522087" y="1899281"/>
            <a:ext cx="1143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Bridging Power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A48783B6-0EC5-9949-ADDD-CBB044E85085}"/>
              </a:ext>
            </a:extLst>
          </p:cNvPr>
          <p:cNvSpPr txBox="1"/>
          <p:nvPr/>
        </p:nvSpPr>
        <p:spPr>
          <a:xfrm>
            <a:off x="9122287" y="1899281"/>
            <a:ext cx="1981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Bulk Power Manageme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2C2F4ED6-B17F-AB44-8B41-C548F82D27A7}"/>
              </a:ext>
            </a:extLst>
          </p:cNvPr>
          <p:cNvSpPr txBox="1"/>
          <p:nvPr/>
        </p:nvSpPr>
        <p:spPr>
          <a:xfrm>
            <a:off x="4397887" y="6267998"/>
            <a:ext cx="3048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Source: EPRI and Greensmith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xmlns="" id="{C5A4B6ED-AE84-0740-AE50-0E663979168E}"/>
              </a:ext>
            </a:extLst>
          </p:cNvPr>
          <p:cNvGrpSpPr/>
          <p:nvPr/>
        </p:nvGrpSpPr>
        <p:grpSpPr>
          <a:xfrm>
            <a:off x="6100283" y="1772197"/>
            <a:ext cx="5765204" cy="3225716"/>
            <a:chOff x="2209800" y="1447800"/>
            <a:chExt cx="5765204" cy="3225716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xmlns="" id="{37E3C674-8580-5541-B0ED-40583456906F}"/>
                </a:ext>
              </a:extLst>
            </p:cNvPr>
            <p:cNvGrpSpPr/>
            <p:nvPr/>
          </p:nvGrpSpPr>
          <p:grpSpPr>
            <a:xfrm>
              <a:off x="3581400" y="1447800"/>
              <a:ext cx="3352800" cy="1905000"/>
              <a:chOff x="2209800" y="1524000"/>
              <a:chExt cx="1981200" cy="3733800"/>
            </a:xfrm>
          </p:grpSpPr>
          <p:sp>
            <p:nvSpPr>
              <p:cNvPr id="45" name="Rounded Rectangle 44">
                <a:extLst>
                  <a:ext uri="{FF2B5EF4-FFF2-40B4-BE49-F238E27FC236}">
                    <a16:creationId xmlns:a16="http://schemas.microsoft.com/office/drawing/2014/main" xmlns="" id="{DFFA4706-367D-5646-99C7-1E0D410F53E6}"/>
                  </a:ext>
                </a:extLst>
              </p:cNvPr>
              <p:cNvSpPr/>
              <p:nvPr/>
            </p:nvSpPr>
            <p:spPr>
              <a:xfrm>
                <a:off x="2209800" y="1524000"/>
                <a:ext cx="1600200" cy="3733800"/>
              </a:xfrm>
              <a:prstGeom prst="roundRect">
                <a:avLst/>
              </a:prstGeom>
              <a:solidFill>
                <a:srgbClr val="CC66FF"/>
              </a:solidFill>
              <a:ln w="10000" cap="flat" cmpd="sng" algn="ctr">
                <a:solidFill>
                  <a:srgbClr val="629DD1"/>
                </a:solidFill>
                <a:prstDash val="solid"/>
              </a:ln>
              <a:effectLst>
                <a:outerShdw blurRad="31750" dist="25400" dir="5400000" rotWithShape="0">
                  <a:srgbClr val="000000">
                    <a:alpha val="50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xmlns="" id="{FA11270B-1012-114D-9872-C670D10A88E8}"/>
                  </a:ext>
                </a:extLst>
              </p:cNvPr>
              <p:cNvSpPr txBox="1"/>
              <p:nvPr/>
            </p:nvSpPr>
            <p:spPr>
              <a:xfrm>
                <a:off x="2209800" y="4039129"/>
                <a:ext cx="1981200" cy="90486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srgbClr val="56565B"/>
                    </a:solidFill>
                    <a:latin typeface="Arial" charset="0"/>
                    <a:ea typeface="Arial" charset="0"/>
                    <a:cs typeface="Arial" charset="0"/>
                  </a:rPr>
                  <a:t>Peak Shaving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srgbClr val="56565B"/>
                    </a:solidFill>
                    <a:latin typeface="Arial" charset="0"/>
                    <a:ea typeface="Arial" charset="0"/>
                    <a:cs typeface="Arial" charset="0"/>
                  </a:rPr>
                  <a:t>T&amp;D Deferral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xmlns="" id="{D783A7AC-F066-734F-8A9D-BDCCE7DECEDB}"/>
                </a:ext>
              </a:extLst>
            </p:cNvPr>
            <p:cNvGrpSpPr/>
            <p:nvPr/>
          </p:nvGrpSpPr>
          <p:grpSpPr>
            <a:xfrm>
              <a:off x="4724401" y="1447800"/>
              <a:ext cx="3250603" cy="1447800"/>
              <a:chOff x="2209800" y="3124200"/>
              <a:chExt cx="4854453" cy="1066800"/>
            </a:xfrm>
          </p:grpSpPr>
          <p:sp>
            <p:nvSpPr>
              <p:cNvPr id="43" name="Rounded Rectangle 42">
                <a:extLst>
                  <a:ext uri="{FF2B5EF4-FFF2-40B4-BE49-F238E27FC236}">
                    <a16:creationId xmlns:a16="http://schemas.microsoft.com/office/drawing/2014/main" xmlns="" id="{0E8189D9-9DDE-1A46-8867-67CCFA603044}"/>
                  </a:ext>
                </a:extLst>
              </p:cNvPr>
              <p:cNvSpPr/>
              <p:nvPr/>
            </p:nvSpPr>
            <p:spPr>
              <a:xfrm>
                <a:off x="2209800" y="3124200"/>
                <a:ext cx="4114800" cy="1066800"/>
              </a:xfrm>
              <a:prstGeom prst="roundRect">
                <a:avLst/>
              </a:prstGeom>
              <a:solidFill>
                <a:srgbClr val="297FD5">
                  <a:lumMod val="40000"/>
                  <a:lumOff val="60000"/>
                </a:srgbClr>
              </a:solidFill>
              <a:ln w="10000" cap="flat" cmpd="sng" algn="ctr">
                <a:solidFill>
                  <a:srgbClr val="629DD1"/>
                </a:solidFill>
                <a:prstDash val="solid"/>
              </a:ln>
              <a:effectLst>
                <a:outerShdw blurRad="31750" dist="25400" dir="5400000" rotWithShape="0">
                  <a:srgbClr val="000000">
                    <a:alpha val="50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xmlns="" id="{47A2707C-2EF5-0A4D-95AF-F83270A4BD51}"/>
                  </a:ext>
                </a:extLst>
              </p:cNvPr>
              <p:cNvSpPr txBox="1"/>
              <p:nvPr/>
            </p:nvSpPr>
            <p:spPr>
              <a:xfrm>
                <a:off x="4485741" y="3183467"/>
                <a:ext cx="2578512" cy="7483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srgbClr val="56565B"/>
                    </a:solidFill>
                    <a:latin typeface="Arial" charset="0"/>
                    <a:ea typeface="Arial" charset="0"/>
                    <a:cs typeface="Arial" charset="0"/>
                  </a:rPr>
                  <a:t>Load Leveling 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endParaRP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srgbClr val="56565B"/>
                    </a:solidFill>
                    <a:latin typeface="Arial" charset="0"/>
                    <a:ea typeface="Arial" charset="0"/>
                    <a:cs typeface="Arial" charset="0"/>
                  </a:rPr>
                  <a:t>Ramping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endParaRP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srgbClr val="56565B"/>
                    </a:solidFill>
                    <a:latin typeface="Arial" charset="0"/>
                    <a:ea typeface="Arial" charset="0"/>
                    <a:cs typeface="Arial" charset="0"/>
                  </a:rPr>
                  <a:t>Energy Arbitrage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xmlns="" id="{ACEC10C7-05D5-9842-B63E-21BF4EC24CDB}"/>
                </a:ext>
              </a:extLst>
            </p:cNvPr>
            <p:cNvGrpSpPr/>
            <p:nvPr/>
          </p:nvGrpSpPr>
          <p:grpSpPr>
            <a:xfrm>
              <a:off x="4953002" y="2971800"/>
              <a:ext cx="2743198" cy="1295400"/>
              <a:chOff x="4953000" y="4191000"/>
              <a:chExt cx="2182088" cy="1066800"/>
            </a:xfrm>
            <a:solidFill>
              <a:srgbClr val="CC9900"/>
            </a:solidFill>
          </p:grpSpPr>
          <p:sp>
            <p:nvSpPr>
              <p:cNvPr id="41" name="Rounded Rectangle 40">
                <a:extLst>
                  <a:ext uri="{FF2B5EF4-FFF2-40B4-BE49-F238E27FC236}">
                    <a16:creationId xmlns:a16="http://schemas.microsoft.com/office/drawing/2014/main" xmlns="" id="{27DB54FD-E75E-D94B-9623-B6C1C502C4F0}"/>
                  </a:ext>
                </a:extLst>
              </p:cNvPr>
              <p:cNvSpPr/>
              <p:nvPr/>
            </p:nvSpPr>
            <p:spPr>
              <a:xfrm>
                <a:off x="4953000" y="4191000"/>
                <a:ext cx="2057400" cy="1066800"/>
              </a:xfrm>
              <a:prstGeom prst="roundRect">
                <a:avLst/>
              </a:prstGeom>
              <a:grpFill/>
              <a:ln w="10000" cap="flat" cmpd="sng" algn="ctr">
                <a:solidFill>
                  <a:srgbClr val="629DD1"/>
                </a:solidFill>
                <a:prstDash val="solid"/>
              </a:ln>
              <a:effectLst>
                <a:outerShdw blurRad="31750" dist="25400" dir="5400000" rotWithShape="0">
                  <a:srgbClr val="000000">
                    <a:alpha val="50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xmlns="" id="{75F0DF52-F7E1-E141-86CB-F5E46739EF24}"/>
                  </a:ext>
                </a:extLst>
              </p:cNvPr>
              <p:cNvSpPr txBox="1"/>
              <p:nvPr/>
            </p:nvSpPr>
            <p:spPr>
              <a:xfrm>
                <a:off x="6213760" y="4267200"/>
                <a:ext cx="921328" cy="3801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srgbClr val="56565B"/>
                    </a:solidFill>
                    <a:latin typeface="Arial" charset="0"/>
                    <a:ea typeface="Arial" charset="0"/>
                    <a:cs typeface="Arial" charset="0"/>
                  </a:rPr>
                  <a:t>Spinning 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srgbClr val="56565B"/>
                    </a:solidFill>
                    <a:latin typeface="Arial" charset="0"/>
                    <a:ea typeface="Arial" charset="0"/>
                    <a:cs typeface="Arial" charset="0"/>
                  </a:rPr>
                  <a:t>Reserve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xmlns="" id="{1469046B-968B-0E40-BECA-6C2C51267A03}"/>
                </a:ext>
              </a:extLst>
            </p:cNvPr>
            <p:cNvGrpSpPr/>
            <p:nvPr/>
          </p:nvGrpSpPr>
          <p:grpSpPr>
            <a:xfrm>
              <a:off x="2209800" y="3200399"/>
              <a:ext cx="3581400" cy="1473117"/>
              <a:chOff x="2209800" y="3124200"/>
              <a:chExt cx="4114800" cy="1586434"/>
            </a:xfrm>
          </p:grpSpPr>
          <p:sp>
            <p:nvSpPr>
              <p:cNvPr id="39" name="Rounded Rectangle 38">
                <a:extLst>
                  <a:ext uri="{FF2B5EF4-FFF2-40B4-BE49-F238E27FC236}">
                    <a16:creationId xmlns:a16="http://schemas.microsoft.com/office/drawing/2014/main" xmlns="" id="{8255FF62-694F-1941-AD4B-43896A863688}"/>
                  </a:ext>
                </a:extLst>
              </p:cNvPr>
              <p:cNvSpPr/>
              <p:nvPr/>
            </p:nvSpPr>
            <p:spPr>
              <a:xfrm>
                <a:off x="2209800" y="3124200"/>
                <a:ext cx="4114800" cy="1586434"/>
              </a:xfrm>
              <a:prstGeom prst="roundRect">
                <a:avLst/>
              </a:prstGeom>
              <a:solidFill>
                <a:srgbClr val="7F8FA9">
                  <a:lumMod val="60000"/>
                  <a:lumOff val="40000"/>
                </a:srgbClr>
              </a:solidFill>
              <a:ln w="10000" cap="flat" cmpd="sng" algn="ctr">
                <a:solidFill>
                  <a:srgbClr val="629DD1"/>
                </a:solidFill>
                <a:prstDash val="solid"/>
              </a:ln>
              <a:effectLst>
                <a:outerShdw blurRad="31750" dist="25400" dir="5400000" rotWithShape="0">
                  <a:srgbClr val="000000">
                    <a:alpha val="50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xmlns="" id="{60547F4A-0D3B-C544-A097-9370688E34AD}"/>
                  </a:ext>
                </a:extLst>
              </p:cNvPr>
              <p:cNvSpPr txBox="1"/>
              <p:nvPr/>
            </p:nvSpPr>
            <p:spPr>
              <a:xfrm>
                <a:off x="2286000" y="3352800"/>
                <a:ext cx="1981200" cy="29830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srgbClr val="56565B"/>
                    </a:solidFill>
                    <a:latin typeface="Arial" charset="0"/>
                    <a:ea typeface="Arial" charset="0"/>
                    <a:cs typeface="Arial" charset="0"/>
                  </a:rPr>
                  <a:t>Frequency Regulation</a:t>
                </a: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xmlns="" id="{E6B47DD1-EAF2-1346-806A-95C0B11B3D84}"/>
                </a:ext>
              </a:extLst>
            </p:cNvPr>
            <p:cNvGrpSpPr/>
            <p:nvPr/>
          </p:nvGrpSpPr>
          <p:grpSpPr>
            <a:xfrm>
              <a:off x="4191000" y="1447800"/>
              <a:ext cx="2057400" cy="1371600"/>
              <a:chOff x="4953000" y="4191000"/>
              <a:chExt cx="2057400" cy="1066800"/>
            </a:xfrm>
          </p:grpSpPr>
          <p:sp>
            <p:nvSpPr>
              <p:cNvPr id="37" name="Rounded Rectangle 36">
                <a:extLst>
                  <a:ext uri="{FF2B5EF4-FFF2-40B4-BE49-F238E27FC236}">
                    <a16:creationId xmlns:a16="http://schemas.microsoft.com/office/drawing/2014/main" xmlns="" id="{1BDC2E38-8C05-2941-9CFF-C34399C0D279}"/>
                  </a:ext>
                </a:extLst>
              </p:cNvPr>
              <p:cNvSpPr/>
              <p:nvPr/>
            </p:nvSpPr>
            <p:spPr>
              <a:xfrm>
                <a:off x="4953000" y="4191000"/>
                <a:ext cx="2057400" cy="1066800"/>
              </a:xfrm>
              <a:prstGeom prst="roundRect">
                <a:avLst/>
              </a:prstGeom>
              <a:solidFill>
                <a:srgbClr val="66CC66"/>
              </a:solidFill>
              <a:ln w="10000" cap="flat" cmpd="sng" algn="ctr">
                <a:solidFill>
                  <a:srgbClr val="629DD1"/>
                </a:solidFill>
                <a:prstDash val="solid"/>
              </a:ln>
              <a:effectLst>
                <a:outerShdw blurRad="31750" dist="25400" dir="5400000" rotWithShape="0">
                  <a:srgbClr val="000000">
                    <a:alpha val="50000"/>
                  </a:srgbClr>
                </a:outerShdw>
              </a:effectLst>
            </p:spPr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xmlns="" id="{A0350EC9-9677-144D-B8DE-156BBBB826C7}"/>
                  </a:ext>
                </a:extLst>
              </p:cNvPr>
              <p:cNvSpPr txBox="1"/>
              <p:nvPr/>
            </p:nvSpPr>
            <p:spPr>
              <a:xfrm>
                <a:off x="5029200" y="4267200"/>
                <a:ext cx="1981200" cy="50270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srgbClr val="56565B"/>
                    </a:solidFill>
                    <a:latin typeface="Arial" charset="0"/>
                    <a:ea typeface="Arial" charset="0"/>
                    <a:cs typeface="Arial" charset="0"/>
                  </a:rPr>
                  <a:t>Renewables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srgbClr val="56565B"/>
                    </a:solidFill>
                    <a:latin typeface="Arial" charset="0"/>
                    <a:ea typeface="Arial" charset="0"/>
                    <a:cs typeface="Arial" charset="0"/>
                  </a:rPr>
                  <a:t> -- Wind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>
                    <a:solidFill>
                      <a:srgbClr val="56565B"/>
                    </a:solidFill>
                    <a:latin typeface="Arial" charset="0"/>
                    <a:ea typeface="Arial" charset="0"/>
                    <a:cs typeface="Arial" charset="0"/>
                  </a:rPr>
                  <a:t> -- Solar</a:t>
                </a:r>
              </a:p>
            </p:txBody>
          </p: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AD5E943E-E564-2141-8D14-F2FA64C66866}"/>
              </a:ext>
            </a:extLst>
          </p:cNvPr>
          <p:cNvGrpSpPr/>
          <p:nvPr/>
        </p:nvGrpSpPr>
        <p:grpSpPr>
          <a:xfrm>
            <a:off x="5388487" y="2153197"/>
            <a:ext cx="6096000" cy="3352800"/>
            <a:chOff x="1219200" y="1905000"/>
            <a:chExt cx="6096000" cy="335280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xmlns="" id="{FDF81235-4871-B54A-A0D4-F4A06AA3122A}"/>
                </a:ext>
              </a:extLst>
            </p:cNvPr>
            <p:cNvSpPr/>
            <p:nvPr/>
          </p:nvSpPr>
          <p:spPr>
            <a:xfrm>
              <a:off x="1219200" y="1981200"/>
              <a:ext cx="1295400" cy="304800"/>
            </a:xfrm>
            <a:prstGeom prst="rect">
              <a:avLst/>
            </a:prstGeom>
            <a:solidFill>
              <a:srgbClr val="CC9900"/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Metal Air Battery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xmlns="" id="{3FDC7634-FA98-DB40-B733-4949CBD5CB97}"/>
                </a:ext>
              </a:extLst>
            </p:cNvPr>
            <p:cNvSpPr/>
            <p:nvPr/>
          </p:nvSpPr>
          <p:spPr>
            <a:xfrm>
              <a:off x="1219200" y="3810000"/>
              <a:ext cx="1676400" cy="304800"/>
            </a:xfrm>
            <a:prstGeom prst="rect">
              <a:avLst/>
            </a:prstGeom>
            <a:solidFill>
              <a:srgbClr val="9999CC"/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Ni-Cd Battery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="" id="{0CEFF1A6-D18E-644F-A1AB-A2D768A84402}"/>
                </a:ext>
              </a:extLst>
            </p:cNvPr>
            <p:cNvSpPr/>
            <p:nvPr/>
          </p:nvSpPr>
          <p:spPr>
            <a:xfrm>
              <a:off x="1295400" y="4114800"/>
              <a:ext cx="2362200" cy="304800"/>
            </a:xfrm>
            <a:prstGeom prst="rect">
              <a:avLst/>
            </a:prstGeom>
            <a:solidFill>
              <a:srgbClr val="993399"/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Ni-MH Battery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xmlns="" id="{A49C73AF-2FBC-6B4F-818B-FE1D7D1DCA74}"/>
                </a:ext>
              </a:extLst>
            </p:cNvPr>
            <p:cNvSpPr/>
            <p:nvPr/>
          </p:nvSpPr>
          <p:spPr>
            <a:xfrm>
              <a:off x="1219200" y="3543300"/>
              <a:ext cx="3352800" cy="228600"/>
            </a:xfrm>
            <a:prstGeom prst="rect">
              <a:avLst/>
            </a:prstGeom>
            <a:solidFill>
              <a:sysClr val="window" lastClr="FFFFFF">
                <a:lumMod val="65000"/>
              </a:sysClr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Lead Acid Battery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xmlns="" id="{DD233670-E7A2-9640-B104-9BBECDE465D3}"/>
                </a:ext>
              </a:extLst>
            </p:cNvPr>
            <p:cNvSpPr/>
            <p:nvPr/>
          </p:nvSpPr>
          <p:spPr>
            <a:xfrm>
              <a:off x="1524000" y="4953000"/>
              <a:ext cx="2133600" cy="304800"/>
            </a:xfrm>
            <a:prstGeom prst="rect">
              <a:avLst/>
            </a:prstGeom>
            <a:solidFill>
              <a:srgbClr val="999966"/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High Power Super Caps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xmlns="" id="{F26E04CE-35EA-DC48-9410-51694609E968}"/>
                </a:ext>
              </a:extLst>
            </p:cNvPr>
            <p:cNvSpPr/>
            <p:nvPr/>
          </p:nvSpPr>
          <p:spPr>
            <a:xfrm>
              <a:off x="1524000" y="4572000"/>
              <a:ext cx="2133600" cy="304800"/>
            </a:xfrm>
            <a:prstGeom prst="rect">
              <a:avLst/>
            </a:prstGeom>
            <a:solidFill>
              <a:srgbClr val="3366FF"/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High Power Fly Wheels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xmlns="" id="{F35E850E-A704-B640-8CED-5C6EE6FDE6E7}"/>
                </a:ext>
              </a:extLst>
            </p:cNvPr>
            <p:cNvSpPr/>
            <p:nvPr/>
          </p:nvSpPr>
          <p:spPr>
            <a:xfrm>
              <a:off x="1219200" y="2743200"/>
              <a:ext cx="914400" cy="381000"/>
            </a:xfrm>
            <a:prstGeom prst="rect">
              <a:avLst/>
            </a:prstGeom>
            <a:solidFill>
              <a:srgbClr val="FF6633"/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Hi Energy Super Caps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xmlns="" id="{5629804B-0BBF-7B4C-94D1-EDBF2AABE14B}"/>
                </a:ext>
              </a:extLst>
            </p:cNvPr>
            <p:cNvSpPr/>
            <p:nvPr/>
          </p:nvSpPr>
          <p:spPr>
            <a:xfrm>
              <a:off x="6019800" y="1905000"/>
              <a:ext cx="1295400" cy="609600"/>
            </a:xfrm>
            <a:prstGeom prst="rect">
              <a:avLst/>
            </a:prstGeom>
            <a:solidFill>
              <a:srgbClr val="242852">
                <a:lumMod val="60000"/>
                <a:lumOff val="40000"/>
              </a:srgbClr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Pumped Hydro</a:t>
              </a: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xmlns="" id="{65E54B3A-3461-8140-A101-26E2C369A69D}"/>
                </a:ext>
              </a:extLst>
            </p:cNvPr>
            <p:cNvSpPr/>
            <p:nvPr/>
          </p:nvSpPr>
          <p:spPr>
            <a:xfrm>
              <a:off x="5562600" y="2590800"/>
              <a:ext cx="1447800" cy="457200"/>
            </a:xfrm>
            <a:prstGeom prst="rect">
              <a:avLst/>
            </a:prstGeom>
            <a:solidFill>
              <a:srgbClr val="996699"/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CAES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xmlns="" id="{AC1D9109-8347-7C4E-B4F1-80712C434DC2}"/>
                </a:ext>
              </a:extLst>
            </p:cNvPr>
            <p:cNvSpPr/>
            <p:nvPr/>
          </p:nvSpPr>
          <p:spPr>
            <a:xfrm>
              <a:off x="4343400" y="4953000"/>
              <a:ext cx="1143000" cy="304800"/>
            </a:xfrm>
            <a:prstGeom prst="rect">
              <a:avLst/>
            </a:prstGeom>
            <a:solidFill>
              <a:srgbClr val="CCCC66"/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SMES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xmlns="" id="{113F3C79-5B5E-1A44-A242-DBA666087797}"/>
                </a:ext>
              </a:extLst>
            </p:cNvPr>
            <p:cNvSpPr/>
            <p:nvPr/>
          </p:nvSpPr>
          <p:spPr>
            <a:xfrm>
              <a:off x="2590800" y="1905000"/>
              <a:ext cx="3048000" cy="609600"/>
            </a:xfrm>
            <a:prstGeom prst="rect">
              <a:avLst/>
            </a:prstGeom>
            <a:solidFill>
              <a:srgbClr val="66CC66"/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Flow Batteries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 err="1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ZrBr</a:t>
              </a: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  VRB  PSB Novel Systems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xmlns="" id="{B3CECF05-14F2-D249-B210-93DFDFEF482B}"/>
                </a:ext>
              </a:extLst>
            </p:cNvPr>
            <p:cNvSpPr/>
            <p:nvPr/>
          </p:nvSpPr>
          <p:spPr>
            <a:xfrm>
              <a:off x="2590800" y="2514600"/>
              <a:ext cx="2667000" cy="304800"/>
            </a:xfrm>
            <a:prstGeom prst="rect">
              <a:avLst/>
            </a:prstGeom>
            <a:solidFill>
              <a:srgbClr val="FFCC66"/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 err="1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NaS</a:t>
              </a: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 Battery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xmlns="" id="{07274815-CB15-2C4F-9F5B-1E710639E4C0}"/>
                </a:ext>
              </a:extLst>
            </p:cNvPr>
            <p:cNvSpPr/>
            <p:nvPr/>
          </p:nvSpPr>
          <p:spPr>
            <a:xfrm>
              <a:off x="2133600" y="3200400"/>
              <a:ext cx="1752600" cy="304800"/>
            </a:xfrm>
            <a:prstGeom prst="rect">
              <a:avLst/>
            </a:prstGeom>
            <a:gradFill flip="none" rotWithShape="1">
              <a:gsLst>
                <a:gs pos="0">
                  <a:sysClr val="window" lastClr="FFFFFF"/>
                </a:gs>
                <a:gs pos="100000">
                  <a:sysClr val="windowText" lastClr="000000">
                    <a:lumMod val="75000"/>
                    <a:lumOff val="25000"/>
                  </a:sysClr>
                </a:gs>
              </a:gsLst>
              <a:path path="shape">
                <a:fillToRect l="50000" t="50000" r="50000" b="50000"/>
              </a:path>
              <a:tileRect/>
            </a:gra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ZEBRA Battery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xmlns="" id="{DD7D7974-147F-054B-84C1-7074A477CA89}"/>
                </a:ext>
              </a:extLst>
            </p:cNvPr>
            <p:cNvSpPr/>
            <p:nvPr/>
          </p:nvSpPr>
          <p:spPr>
            <a:xfrm>
              <a:off x="2603500" y="2895600"/>
              <a:ext cx="1968500" cy="266700"/>
            </a:xfrm>
            <a:prstGeom prst="rect">
              <a:avLst/>
            </a:prstGeom>
            <a:solidFill>
              <a:srgbClr val="297FD5">
                <a:lumMod val="60000"/>
                <a:lumOff val="40000"/>
              </a:srgbClr>
            </a:solidFill>
            <a:ln w="10000" cap="flat" cmpd="sng" algn="ctr">
              <a:solidFill>
                <a:srgbClr val="629DD1"/>
              </a:solidFill>
              <a:prstDash val="solid"/>
            </a:ln>
            <a:effectLst>
              <a:outerShdw blurRad="31750" dist="25400" dir="5400000" rotWithShape="0">
                <a:srgbClr val="000000">
                  <a:alpha val="50000"/>
                </a:srgbClr>
              </a:outerShdw>
            </a:effectLst>
          </p:spPr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b="1" kern="0" dirty="0">
                  <a:solidFill>
                    <a:srgbClr val="56565B"/>
                  </a:solidFill>
                  <a:latin typeface="Arial" charset="0"/>
                  <a:ea typeface="Arial" charset="0"/>
                  <a:cs typeface="Arial" charset="0"/>
                </a:rPr>
                <a:t>Advanced Lead Acid Battery</a:t>
              </a: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FDC2EC68-2700-8E45-8A6E-51B0586937D2}"/>
              </a:ext>
            </a:extLst>
          </p:cNvPr>
          <p:cNvSpPr/>
          <p:nvPr/>
        </p:nvSpPr>
        <p:spPr>
          <a:xfrm>
            <a:off x="5693287" y="2457997"/>
            <a:ext cx="4114800" cy="1981200"/>
          </a:xfrm>
          <a:prstGeom prst="rect">
            <a:avLst/>
          </a:prstGeom>
          <a:solidFill>
            <a:srgbClr val="FFFF00">
              <a:alpha val="79000"/>
            </a:srgbClr>
          </a:solidFill>
          <a:ln w="10000" cap="flat" cmpd="sng" algn="ctr">
            <a:solidFill>
              <a:srgbClr val="629DD1"/>
            </a:solidFill>
            <a:prstDash val="solid"/>
          </a:ln>
          <a:effectLst>
            <a:outerShdw blurRad="31750" dist="25400" dir="5400000" rotWithShape="0">
              <a:srgbClr val="000000">
                <a:alpha val="50000"/>
              </a:srgb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>
                <a:solidFill>
                  <a:srgbClr val="56565B"/>
                </a:solidFill>
                <a:latin typeface="Arial" charset="0"/>
                <a:ea typeface="Arial" charset="0"/>
                <a:cs typeface="Arial" charset="0"/>
              </a:rPr>
              <a:t>Lithium-ion Battery</a:t>
            </a:r>
          </a:p>
        </p:txBody>
      </p:sp>
    </p:spTree>
    <p:extLst>
      <p:ext uri="{BB962C8B-B14F-4D97-AF65-F5344CB8AC3E}">
        <p14:creationId xmlns:p14="http://schemas.microsoft.com/office/powerpoint/2010/main" val="2697607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D995BA-5E9B-DF4A-B59C-837170558D6B}" type="slidenum">
              <a:rPr lang="en-US" smtClean="0">
                <a:solidFill>
                  <a:srgbClr val="808080"/>
                </a:solidFill>
              </a:rPr>
              <a:pPr/>
              <a:t>23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zing Strategy Impact on ROI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-3600" y="-14372"/>
            <a:ext cx="4447940" cy="433553"/>
          </a:xfrm>
        </p:spPr>
        <p:txBody>
          <a:bodyPr/>
          <a:lstStyle/>
          <a:p>
            <a:r>
              <a:rPr lang="en-US" dirty="0"/>
              <a:t>Energy Storage System </a:t>
            </a:r>
            <a:r>
              <a:rPr lang="en-US" dirty="0" err="1"/>
              <a:t>DImensioning</a:t>
            </a:r>
            <a:endParaRPr lang="en-US" dirty="0"/>
          </a:p>
        </p:txBody>
      </p:sp>
      <p:sp>
        <p:nvSpPr>
          <p:cNvPr id="5" name="Content Placeholder 3"/>
          <p:cNvSpPr txBox="1">
            <a:spLocks/>
          </p:cNvSpPr>
          <p:nvPr/>
        </p:nvSpPr>
        <p:spPr>
          <a:xfrm>
            <a:off x="1738745" y="3886200"/>
            <a:ext cx="4724401" cy="2362200"/>
          </a:xfrm>
          <a:prstGeom prst="rect">
            <a:avLst/>
          </a:prstGeom>
        </p:spPr>
        <p:txBody>
          <a:bodyPr>
            <a:noAutofit/>
          </a:bodyPr>
          <a:lstStyle>
            <a:lvl1pPr marL="27432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 2" pitchFamily="18" charset="2"/>
              <a:buChar char=""/>
              <a:defRPr sz="2000" b="1" kern="1200" spc="150" baseline="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§"/>
              <a:defRPr sz="1800" kern="1200" spc="100" baseline="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 sz="1600" kern="1200" spc="100" baseline="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 pitchFamily="2" charset="2"/>
              <a:buChar char="§"/>
              <a:defRPr sz="14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spcBef>
                <a:spcPct val="20000"/>
              </a:spcBef>
              <a:buClr>
                <a:schemeClr val="accent6"/>
              </a:buClr>
              <a:buFont typeface="Wingdings" pitchFamily="2" charset="2"/>
              <a:buChar char="§"/>
              <a:defRPr sz="1300" kern="1200" spc="100" baseline="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1554480" indent="-18288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828800" indent="-18288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103120" indent="-18288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377440" indent="-182880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Wingdings" pitchFamily="2" charset="2"/>
              <a:buChar char="§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900"/>
              </a:spcAft>
              <a:buClr>
                <a:srgbClr val="004A6B"/>
              </a:buClr>
              <a:buFont typeface="Arial" charset="0"/>
              <a:buChar char="•"/>
            </a:pPr>
            <a:r>
              <a:rPr lang="en-US" sz="1800" b="0" spc="0" dirty="0">
                <a:solidFill>
                  <a:srgbClr val="5656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idly declining cost curves needs </a:t>
            </a:r>
            <a:r>
              <a:rPr lang="en-US" sz="1800" spc="0" dirty="0">
                <a:solidFill>
                  <a:srgbClr val="5656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ve </a:t>
            </a:r>
            <a:r>
              <a:rPr lang="en-US" sz="1800" b="0" spc="0" dirty="0">
                <a:solidFill>
                  <a:srgbClr val="5656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loyment strategies</a:t>
            </a:r>
          </a:p>
          <a:p>
            <a:pPr>
              <a:spcBef>
                <a:spcPts val="0"/>
              </a:spcBef>
              <a:spcAft>
                <a:spcPts val="900"/>
              </a:spcAft>
              <a:buClr>
                <a:srgbClr val="004A6B"/>
              </a:buClr>
              <a:buFont typeface="Arial" charset="0"/>
              <a:buChar char="•"/>
            </a:pPr>
            <a:r>
              <a:rPr lang="en-US" sz="1800" b="0" spc="0" dirty="0">
                <a:solidFill>
                  <a:srgbClr val="5656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mentation strategy allows IPP to benefit from declining cost curves and TVM</a:t>
            </a:r>
            <a:endParaRPr lang="en-US" sz="1800" spc="0" dirty="0">
              <a:solidFill>
                <a:srgbClr val="56565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spcAft>
                <a:spcPts val="900"/>
              </a:spcAft>
              <a:buClr>
                <a:srgbClr val="004A6B"/>
              </a:buClr>
              <a:buFont typeface="Arial" charset="0"/>
              <a:buChar char="•"/>
            </a:pPr>
            <a:r>
              <a:rPr lang="en-US" sz="1800" b="0" spc="0" dirty="0">
                <a:solidFill>
                  <a:srgbClr val="56565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s in 19% savings</a:t>
            </a:r>
          </a:p>
        </p:txBody>
      </p:sp>
      <p:pic>
        <p:nvPicPr>
          <p:cNvPr id="6" name="Picture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69423" y="1295400"/>
            <a:ext cx="3502660" cy="25146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7070444" y="688801"/>
          <a:ext cx="4683928" cy="5838538"/>
        </p:xfrm>
        <a:graphic>
          <a:graphicData uri="http://schemas.openxmlformats.org/drawingml/2006/table">
            <a:tbl>
              <a:tblPr/>
              <a:tblGrid>
                <a:gridCol w="703130">
                  <a:extLst>
                    <a:ext uri="{9D8B030D-6E8A-4147-A177-3AD203B41FA5}">
                      <a16:colId xmlns:a16="http://schemas.microsoft.com/office/drawing/2014/main" xmlns="" val="3850894996"/>
                    </a:ext>
                  </a:extLst>
                </a:gridCol>
                <a:gridCol w="703130">
                  <a:extLst>
                    <a:ext uri="{9D8B030D-6E8A-4147-A177-3AD203B41FA5}">
                      <a16:colId xmlns:a16="http://schemas.microsoft.com/office/drawing/2014/main" xmlns="" val="734796176"/>
                    </a:ext>
                  </a:extLst>
                </a:gridCol>
                <a:gridCol w="697721">
                  <a:extLst>
                    <a:ext uri="{9D8B030D-6E8A-4147-A177-3AD203B41FA5}">
                      <a16:colId xmlns:a16="http://schemas.microsoft.com/office/drawing/2014/main" xmlns="" val="1703307618"/>
                    </a:ext>
                  </a:extLst>
                </a:gridCol>
                <a:gridCol w="933000">
                  <a:extLst>
                    <a:ext uri="{9D8B030D-6E8A-4147-A177-3AD203B41FA5}">
                      <a16:colId xmlns:a16="http://schemas.microsoft.com/office/drawing/2014/main" xmlns="" val="2520475139"/>
                    </a:ext>
                  </a:extLst>
                </a:gridCol>
                <a:gridCol w="697721">
                  <a:extLst>
                    <a:ext uri="{9D8B030D-6E8A-4147-A177-3AD203B41FA5}">
                      <a16:colId xmlns:a16="http://schemas.microsoft.com/office/drawing/2014/main" xmlns="" val="2579418125"/>
                    </a:ext>
                  </a:extLst>
                </a:gridCol>
                <a:gridCol w="949226">
                  <a:extLst>
                    <a:ext uri="{9D8B030D-6E8A-4147-A177-3AD203B41FA5}">
                      <a16:colId xmlns:a16="http://schemas.microsoft.com/office/drawing/2014/main" xmlns="" val="606435691"/>
                    </a:ext>
                  </a:extLst>
                </a:gridCol>
              </a:tblGrid>
              <a:tr h="146155">
                <a:tc>
                  <a:txBody>
                    <a:bodyPr/>
                    <a:lstStyle/>
                    <a:p>
                      <a:pPr algn="l" fontAlgn="b"/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33" marR="7333" marT="733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33" marR="7333" marT="733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versize</a:t>
                      </a:r>
                    </a:p>
                  </a:txBody>
                  <a:tcPr marL="7333" marR="7333" marT="733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gmentation</a:t>
                      </a:r>
                    </a:p>
                  </a:txBody>
                  <a:tcPr marL="7333" marR="7333" marT="733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8034635"/>
                  </a:ext>
                </a:extLst>
              </a:tr>
              <a:tr h="428046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attery Price per kWh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MWh Deploye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ash Cos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MWh Deploye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5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Cash Cost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13255718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225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72.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6,335,00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51.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1,475,00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91565392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7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51669405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63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47271067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08098753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1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9.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,359,00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9344570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49406666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61618913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33653634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12976678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7.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,050,00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81618424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2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21919507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51131494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3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35045781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16228877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57.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8,550,00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40.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6,000,00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2153125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60883003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21431614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7382587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11404712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13.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,950,00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66103884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1544248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26864025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42549939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4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10249279"/>
                  </a:ext>
                </a:extLst>
              </a:tr>
              <a:tr h="147986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Arial" panose="020B0604020202020204" pitchFamily="34" charset="0"/>
                        </a:rPr>
                        <a:t>204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51401208"/>
                  </a:ext>
                </a:extLst>
              </a:tr>
              <a:tr h="31347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65098278"/>
                  </a:ext>
                </a:extLst>
              </a:tr>
              <a:tr h="313476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NPV @ 7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9,650,83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15,949,000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03895274"/>
                  </a:ext>
                </a:extLst>
              </a:tr>
              <a:tr h="313476">
                <a:tc gridSpan="3">
                  <a:txBody>
                    <a:bodyPr/>
                    <a:lstStyle/>
                    <a:p>
                      <a:pPr algn="l" rtl="0" fontAlgn="b"/>
                      <a:r>
                        <a:rPr lang="en-US" sz="1050" b="1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NPV savings from Augmentatio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050" b="0" i="0" u="none" strike="noStrike" dirty="0">
                          <a:solidFill>
                            <a:srgbClr val="56565B"/>
                          </a:solidFill>
                          <a:effectLst/>
                          <a:latin typeface="Calibri" panose="020F0502020204030204" pitchFamily="34" charset="0"/>
                        </a:rPr>
                        <a:t>$3,701,837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891925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14259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-3600" y="-3600"/>
            <a:ext cx="1645955" cy="412009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5" name="pole tekstowe 7"/>
          <p:cNvSpPr txBox="1"/>
          <p:nvPr/>
        </p:nvSpPr>
        <p:spPr>
          <a:xfrm>
            <a:off x="757573" y="5178499"/>
            <a:ext cx="404624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000" b="1" dirty="0">
                <a:solidFill>
                  <a:prstClr val="white"/>
                </a:solidFill>
              </a:rPr>
              <a:t>Wilhelm van Butselaar</a:t>
            </a:r>
          </a:p>
          <a:p>
            <a:r>
              <a:rPr lang="en-GB" sz="1400" dirty="0">
                <a:solidFill>
                  <a:prstClr val="white"/>
                </a:solidFill>
              </a:rPr>
              <a:t>Area Manager Energy Storage &amp; Integration</a:t>
            </a:r>
          </a:p>
          <a:p>
            <a:r>
              <a:rPr lang="en-US" sz="1400" dirty="0">
                <a:solidFill>
                  <a:prstClr val="white"/>
                </a:solidFill>
              </a:rPr>
              <a:t>Wärtsilä Energy Solutions</a:t>
            </a:r>
            <a:endParaRPr lang="en-GB" sz="1400" dirty="0">
              <a:solidFill>
                <a:prstClr val="white"/>
              </a:solidFill>
            </a:endParaRPr>
          </a:p>
          <a:p>
            <a:r>
              <a:rPr lang="en-GB" sz="1400" u="sng" dirty="0">
                <a:hlinkClick r:id="rId2"/>
              </a:rPr>
              <a:t>Wilhelm.vB@wartsila.com</a:t>
            </a:r>
            <a:r>
              <a:rPr lang="en-GB" sz="1400" dirty="0"/>
              <a:t> </a:t>
            </a:r>
          </a:p>
          <a:p>
            <a:r>
              <a:rPr lang="en-GB" sz="1400" dirty="0">
                <a:solidFill>
                  <a:prstClr val="white"/>
                </a:solidFill>
              </a:rPr>
              <a:t>+65 9836 3205</a:t>
            </a:r>
          </a:p>
        </p:txBody>
      </p:sp>
      <p:sp>
        <p:nvSpPr>
          <p:cNvPr id="4" name="pole tekstowe 7"/>
          <p:cNvSpPr txBox="1"/>
          <p:nvPr/>
        </p:nvSpPr>
        <p:spPr>
          <a:xfrm>
            <a:off x="7339609" y="5178499"/>
            <a:ext cx="4046247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i-FI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2000" b="1" dirty="0">
                <a:solidFill>
                  <a:prstClr val="white"/>
                </a:solidFill>
              </a:rPr>
              <a:t>Thomas Hellmich</a:t>
            </a:r>
          </a:p>
          <a:p>
            <a:pPr algn="r"/>
            <a:r>
              <a:rPr lang="en-GB" sz="1400" dirty="0">
                <a:solidFill>
                  <a:prstClr val="white"/>
                </a:solidFill>
              </a:rPr>
              <a:t>Sales Manager Australia &amp; Oceania</a:t>
            </a:r>
          </a:p>
          <a:p>
            <a:pPr algn="r"/>
            <a:r>
              <a:rPr lang="en-US" sz="1400" dirty="0">
                <a:solidFill>
                  <a:prstClr val="white"/>
                </a:solidFill>
              </a:rPr>
              <a:t>Wärtsilä Energy Solutions</a:t>
            </a:r>
            <a:endParaRPr lang="en-GB" sz="1400" dirty="0">
              <a:solidFill>
                <a:prstClr val="white"/>
              </a:solidFill>
            </a:endParaRPr>
          </a:p>
          <a:p>
            <a:pPr algn="r"/>
            <a:r>
              <a:rPr lang="en-GB" sz="1400" u="sng" dirty="0">
                <a:hlinkClick r:id="rId3"/>
              </a:rPr>
              <a:t>Thomas.Hellmich@wartsila.com</a:t>
            </a:r>
            <a:r>
              <a:rPr lang="en-GB" sz="1400" dirty="0"/>
              <a:t> </a:t>
            </a:r>
          </a:p>
          <a:p>
            <a:pPr algn="r"/>
            <a:r>
              <a:rPr lang="en-GB" sz="1400" dirty="0">
                <a:solidFill>
                  <a:prstClr val="white"/>
                </a:solidFill>
              </a:rPr>
              <a:t>+61 2 8822 2902</a:t>
            </a:r>
          </a:p>
        </p:txBody>
      </p:sp>
    </p:spTree>
    <p:extLst>
      <p:ext uri="{BB962C8B-B14F-4D97-AF65-F5344CB8AC3E}">
        <p14:creationId xmlns:p14="http://schemas.microsoft.com/office/powerpoint/2010/main" val="28049478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F8655-FB55-4D94-B561-1E1DC7E00C82}" type="datetime1">
              <a:rPr lang="fi-FI" smtClean="0">
                <a:solidFill>
                  <a:srgbClr val="808080"/>
                </a:solidFill>
              </a:rPr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Wartsila / Greensmith Energy Storag Solution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3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-3600" y="-3600"/>
            <a:ext cx="4445953" cy="412009"/>
          </a:xfrm>
        </p:spPr>
        <p:txBody>
          <a:bodyPr/>
          <a:lstStyle/>
          <a:p>
            <a:r>
              <a:rPr lang="en-US" dirty="0"/>
              <a:t>Wärtsilä corporation - introduction</a:t>
            </a:r>
            <a:endParaRPr lang="en-GB" dirty="0"/>
          </a:p>
        </p:txBody>
      </p:sp>
      <p:sp>
        <p:nvSpPr>
          <p:cNvPr id="8" name="Rectangle 7"/>
          <p:cNvSpPr/>
          <p:nvPr/>
        </p:nvSpPr>
        <p:spPr>
          <a:xfrm>
            <a:off x="137928" y="613676"/>
            <a:ext cx="10442864" cy="5953991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>
            <a:outerShdw blurRad="190500" algn="ctr" rotWithShape="0">
              <a:prstClr val="black">
                <a:alpha val="10000"/>
              </a:prst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i-FI" kern="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34172" y="609937"/>
            <a:ext cx="4933692" cy="2574817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i-FI" kern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668867" y="609937"/>
            <a:ext cx="4915743" cy="2569371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i-FI" kern="0">
              <a:solidFill>
                <a:srgbClr val="FFFFF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809521" y="3179308"/>
            <a:ext cx="4775383" cy="60130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 lIns="0" tIns="36000" rIns="0" bIns="36000" rtlCol="0" anchor="ctr" anchorCtr="0">
            <a:no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kern="0" spc="-50" dirty="0">
                <a:solidFill>
                  <a:srgbClr val="004A6B"/>
                </a:solidFill>
                <a:ea typeface="ＭＳ Ｐゴシック" charset="0"/>
                <a:cs typeface="Arial" panose="020B0604020202020204" pitchFamily="34" charset="0"/>
              </a:rPr>
              <a:t>              WÄRTSILÄ POWERING THE WORLD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139688" y="3188493"/>
            <a:ext cx="4936276" cy="3380903"/>
          </a:xfrm>
          <a:prstGeom prst="rect">
            <a:avLst/>
          </a:prstGeom>
          <a:solidFill>
            <a:srgbClr val="E7E6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i-FI" sz="2000" kern="0" dirty="0">
              <a:solidFill>
                <a:srgbClr val="000000"/>
              </a:solidFill>
              <a:latin typeface="Calibri"/>
              <a:ea typeface="ＭＳ Ｐゴシック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 rot="5400000">
            <a:off x="2325177" y="997488"/>
            <a:ext cx="559782" cy="4941792"/>
          </a:xfrm>
          <a:prstGeom prst="rect">
            <a:avLst/>
          </a:prstGeom>
          <a:solidFill>
            <a:srgbClr val="FFFFFF">
              <a:alpha val="6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08000" tIns="72000" rIns="108000" bIns="72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defRPr/>
            </a:pPr>
            <a:r>
              <a:rPr lang="fi-FI" sz="1400" b="1" kern="0" dirty="0">
                <a:solidFill>
                  <a:srgbClr val="004A6B"/>
                </a:solidFill>
                <a:ea typeface="ＭＳ Ｐゴシック" charset="0"/>
                <a:cs typeface="Arial" panose="020B0604020202020204" pitchFamily="34" charset="0"/>
              </a:rPr>
              <a:t>SOLUTIONS FO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060329" y="1659340"/>
            <a:ext cx="17052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60000"/>
                    </a:prstClr>
                  </a:outerShdw>
                </a:effectLst>
                <a:ea typeface="ＭＳ Ｐゴシック" charset="0"/>
                <a:cs typeface="Arial" panose="020B0604020202020204" pitchFamily="34" charset="0"/>
              </a:rPr>
              <a:t>MARINE/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effectLst>
                  <a:outerShdw blurRad="190500" algn="ctr" rotWithShape="0">
                    <a:prstClr val="black">
                      <a:alpha val="60000"/>
                    </a:prstClr>
                  </a:outerShdw>
                </a:effectLst>
                <a:ea typeface="ＭＳ Ｐゴシック" charset="0"/>
                <a:cs typeface="Arial" panose="020B0604020202020204" pitchFamily="34" charset="0"/>
              </a:rPr>
              <a:t>OFFSHOR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756480" y="1782451"/>
            <a:ext cx="24232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prstClr val="white"/>
                </a:solidFill>
                <a:effectLst>
                  <a:outerShdw blurRad="190500" algn="ctr" rotWithShape="0">
                    <a:prstClr val="black">
                      <a:alpha val="60000"/>
                    </a:prstClr>
                  </a:outerShdw>
                </a:effectLst>
                <a:ea typeface="ＭＳ Ｐゴシック" charset="0"/>
                <a:cs typeface="Arial" panose="020B0604020202020204" pitchFamily="34" charset="0"/>
              </a:rPr>
              <a:t>POWER GENERATION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1912949" y="3789859"/>
            <a:ext cx="2563169" cy="2488297"/>
            <a:chOff x="1826659" y="3291564"/>
            <a:chExt cx="2427561" cy="2204119"/>
          </a:xfrm>
        </p:grpSpPr>
        <p:graphicFrame>
          <p:nvGraphicFramePr>
            <p:cNvPr id="23" name="Content Placeholder 4"/>
            <p:cNvGraphicFramePr>
              <a:graphicFrameLocks/>
            </p:cNvGraphicFramePr>
            <p:nvPr>
              <p:extLst/>
            </p:nvPr>
          </p:nvGraphicFramePr>
          <p:xfrm>
            <a:off x="1832006" y="3393108"/>
            <a:ext cx="1902225" cy="20521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4" name="Text Box 6"/>
            <p:cNvSpPr txBox="1">
              <a:spLocks noChangeArrowheads="1"/>
            </p:cNvSpPr>
            <p:nvPr/>
          </p:nvSpPr>
          <p:spPr bwMode="auto">
            <a:xfrm>
              <a:off x="3335724" y="3419046"/>
              <a:ext cx="828062" cy="64979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43200" tIns="43200" rIns="43200" bIns="43200">
              <a:spAutoFit/>
            </a:bodyPr>
            <a:lstStyle/>
            <a:p>
              <a:pPr algn="ctr" defTabSz="871538">
                <a:tabLst>
                  <a:tab pos="1166813" algn="r"/>
                  <a:tab pos="1250950" algn="l"/>
                </a:tabLst>
                <a:defRPr/>
              </a:pPr>
              <a:r>
                <a:rPr lang="en-GB" sz="1400" kern="0" dirty="0">
                  <a:solidFill>
                    <a:srgbClr val="0F334A"/>
                  </a:solidFill>
                  <a:ea typeface="ＭＳ Ｐゴシック" charset="0"/>
                  <a:cs typeface="Arial" panose="020B0604020202020204" pitchFamily="34" charset="0"/>
                </a:rPr>
                <a:t>Marine</a:t>
              </a:r>
            </a:p>
            <a:p>
              <a:pPr algn="ctr" defTabSz="871538">
                <a:tabLst>
                  <a:tab pos="1166813" algn="r"/>
                  <a:tab pos="1250950" algn="l"/>
                </a:tabLst>
                <a:defRPr/>
              </a:pPr>
              <a:r>
                <a:rPr lang="en-GB" sz="1400" kern="0" dirty="0">
                  <a:solidFill>
                    <a:srgbClr val="0F334A"/>
                  </a:solidFill>
                  <a:ea typeface="ＭＳ Ｐゴシック" charset="0"/>
                  <a:cs typeface="Arial" panose="020B0604020202020204" pitchFamily="34" charset="0"/>
                </a:rPr>
                <a:t> Solutions</a:t>
              </a:r>
            </a:p>
            <a:p>
              <a:pPr algn="ctr" defTabSz="871538">
                <a:tabLst>
                  <a:tab pos="1166813" algn="r"/>
                  <a:tab pos="1250950" algn="l"/>
                </a:tabLst>
                <a:defRPr/>
              </a:pPr>
              <a:r>
                <a:rPr lang="en-GB" sz="1400" kern="0" dirty="0">
                  <a:solidFill>
                    <a:srgbClr val="FF7303"/>
                  </a:solidFill>
                  <a:ea typeface="ＭＳ Ｐゴシック" charset="0"/>
                  <a:cs typeface="Arial" panose="020B0604020202020204" pitchFamily="34" charset="0"/>
                </a:rPr>
                <a:t>34%</a:t>
              </a:r>
            </a:p>
          </p:txBody>
        </p:sp>
        <p:sp>
          <p:nvSpPr>
            <p:cNvPr id="25" name="Text Box 7"/>
            <p:cNvSpPr txBox="1">
              <a:spLocks noChangeArrowheads="1"/>
            </p:cNvSpPr>
            <p:nvPr/>
          </p:nvSpPr>
          <p:spPr bwMode="auto">
            <a:xfrm>
              <a:off x="3473223" y="4845887"/>
              <a:ext cx="780997" cy="649796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43200" tIns="43200" rIns="43200" bIns="43200">
              <a:spAutoFit/>
            </a:bodyPr>
            <a:lstStyle/>
            <a:p>
              <a:pPr algn="ctr" defTabSz="871538">
                <a:tabLst>
                  <a:tab pos="1166813" algn="r"/>
                  <a:tab pos="1250950" algn="l"/>
                </a:tabLst>
                <a:defRPr/>
              </a:pPr>
              <a:r>
                <a:rPr lang="en-GB" sz="1400" kern="0" dirty="0">
                  <a:solidFill>
                    <a:srgbClr val="0F334A"/>
                  </a:solidFill>
                  <a:ea typeface="ＭＳ Ｐゴシック" charset="0"/>
                  <a:cs typeface="Arial" panose="020B0604020202020204" pitchFamily="34" charset="0"/>
                </a:rPr>
                <a:t>Energy </a:t>
              </a:r>
            </a:p>
            <a:p>
              <a:pPr algn="ctr" defTabSz="871538">
                <a:tabLst>
                  <a:tab pos="1166813" algn="r"/>
                  <a:tab pos="1250950" algn="l"/>
                </a:tabLst>
                <a:defRPr/>
              </a:pPr>
              <a:r>
                <a:rPr lang="en-GB" sz="1400" kern="0" dirty="0">
                  <a:solidFill>
                    <a:srgbClr val="0F334A"/>
                  </a:solidFill>
                  <a:ea typeface="ＭＳ Ｐゴシック" charset="0"/>
                  <a:cs typeface="Arial" panose="020B0604020202020204" pitchFamily="34" charset="0"/>
                </a:rPr>
                <a:t>Solutions</a:t>
              </a:r>
            </a:p>
            <a:p>
              <a:pPr algn="ctr" defTabSz="871538">
                <a:tabLst>
                  <a:tab pos="1166813" algn="r"/>
                  <a:tab pos="1250950" algn="l"/>
                </a:tabLst>
                <a:defRPr/>
              </a:pPr>
              <a:r>
                <a:rPr lang="en-GB" sz="1400" kern="0" dirty="0">
                  <a:solidFill>
                    <a:srgbClr val="FF7303"/>
                  </a:solidFill>
                  <a:ea typeface="ＭＳ Ｐゴシック" charset="0"/>
                  <a:cs typeface="Arial" panose="020B0604020202020204" pitchFamily="34" charset="0"/>
                </a:rPr>
                <a:t>22%</a:t>
              </a:r>
            </a:p>
          </p:txBody>
        </p:sp>
        <p:sp>
          <p:nvSpPr>
            <p:cNvPr id="26" name="Text Box 8"/>
            <p:cNvSpPr txBox="1">
              <a:spLocks noChangeArrowheads="1"/>
            </p:cNvSpPr>
            <p:nvPr/>
          </p:nvSpPr>
          <p:spPr bwMode="auto">
            <a:xfrm>
              <a:off x="1826659" y="3291564"/>
              <a:ext cx="733933" cy="458957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43200" tIns="43200" rIns="43200" bIns="43200">
              <a:spAutoFit/>
            </a:bodyPr>
            <a:lstStyle/>
            <a:p>
              <a:pPr algn="ctr" defTabSz="871538">
                <a:tabLst>
                  <a:tab pos="1166813" algn="r"/>
                  <a:tab pos="1250950" algn="l"/>
                </a:tabLst>
                <a:defRPr/>
              </a:pPr>
              <a:r>
                <a:rPr lang="en-GB" sz="1400" kern="0" dirty="0">
                  <a:solidFill>
                    <a:srgbClr val="0F334A"/>
                  </a:solidFill>
                  <a:ea typeface="ＭＳ Ｐゴシック" charset="0"/>
                  <a:cs typeface="Arial" panose="020B0604020202020204" pitchFamily="34" charset="0"/>
                </a:rPr>
                <a:t>Services</a:t>
              </a:r>
            </a:p>
            <a:p>
              <a:pPr algn="ctr" defTabSz="871538">
                <a:tabLst>
                  <a:tab pos="1166813" algn="r"/>
                  <a:tab pos="1250950" algn="l"/>
                </a:tabLst>
                <a:defRPr/>
              </a:pPr>
              <a:r>
                <a:rPr lang="en-GB" sz="1400" kern="0" dirty="0">
                  <a:solidFill>
                    <a:srgbClr val="FF7303"/>
                  </a:solidFill>
                  <a:ea typeface="ＭＳ Ｐゴシック" charset="0"/>
                  <a:cs typeface="Arial" panose="020B0604020202020204" pitchFamily="34" charset="0"/>
                </a:rPr>
                <a:t>43%</a:t>
              </a:r>
              <a:r>
                <a:rPr lang="en-GB" sz="1400" kern="0" dirty="0">
                  <a:solidFill>
                    <a:srgbClr val="383838"/>
                  </a:solidFill>
                  <a:ea typeface="ＭＳ Ｐゴシック" charset="0"/>
                  <a:cs typeface="Arial" panose="020B0604020202020204" pitchFamily="34" charset="0"/>
                </a:rPr>
                <a:t> </a:t>
              </a:r>
            </a:p>
          </p:txBody>
        </p:sp>
      </p:grpSp>
      <p:sp>
        <p:nvSpPr>
          <p:cNvPr id="27" name="Text Box 19"/>
          <p:cNvSpPr txBox="1">
            <a:spLocks noChangeArrowheads="1"/>
          </p:cNvSpPr>
          <p:nvPr/>
        </p:nvSpPr>
        <p:spPr bwMode="auto">
          <a:xfrm>
            <a:off x="255273" y="4730341"/>
            <a:ext cx="2008648" cy="164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ts val="400"/>
              </a:spcAft>
              <a:buClr>
                <a:srgbClr val="FF7300"/>
              </a:buClr>
            </a:pPr>
            <a:r>
              <a:rPr lang="fi-FI" sz="1200" spc="-30" dirty="0">
                <a:solidFill>
                  <a:srgbClr val="000000"/>
                </a:solidFill>
                <a:ea typeface="ＭＳ Ｐゴシック" charset="0"/>
                <a:cs typeface="Arial" panose="020B0604020202020204" pitchFamily="34" charset="0"/>
              </a:rPr>
              <a:t>Listed in Helsinki 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  <a:buClr>
                <a:srgbClr val="FF7300"/>
              </a:buClr>
            </a:pPr>
            <a:r>
              <a:rPr lang="fi-FI" sz="1200" b="1" spc="-30" dirty="0">
                <a:solidFill>
                  <a:srgbClr val="000000"/>
                </a:solidFill>
                <a:ea typeface="ＭＳ Ｐゴシック" charset="0"/>
                <a:cs typeface="Arial" panose="020B0604020202020204" pitchFamily="34" charset="0"/>
              </a:rPr>
              <a:t>4,9 billion € turnover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  <a:buClr>
                <a:srgbClr val="FF7300"/>
              </a:buClr>
            </a:pPr>
            <a:endParaRPr lang="fi-FI" sz="1200" spc="-30" dirty="0">
              <a:solidFill>
                <a:srgbClr val="000000"/>
              </a:solidFill>
              <a:ea typeface="ＭＳ Ｐゴシック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ts val="400"/>
              </a:spcAft>
              <a:buClr>
                <a:srgbClr val="FF7300"/>
              </a:buClr>
            </a:pPr>
            <a:r>
              <a:rPr lang="fi-FI" sz="1200" spc="-30" dirty="0">
                <a:solidFill>
                  <a:srgbClr val="000000"/>
                </a:solidFill>
                <a:ea typeface="ＭＳ Ｐゴシック" charset="0"/>
                <a:cs typeface="Arial" panose="020B0604020202020204" pitchFamily="34" charset="0"/>
              </a:rPr>
              <a:t>2,6% or 136M€ in R&amp;D</a:t>
            </a:r>
          </a:p>
          <a:p>
            <a:pPr fontAlgn="base">
              <a:spcBef>
                <a:spcPct val="0"/>
              </a:spcBef>
              <a:spcAft>
                <a:spcPts val="400"/>
              </a:spcAft>
              <a:buClr>
                <a:srgbClr val="FF7300"/>
              </a:buClr>
            </a:pPr>
            <a:endParaRPr lang="fi-FI" sz="1200" spc="-30" dirty="0">
              <a:solidFill>
                <a:srgbClr val="000000"/>
              </a:solidFill>
              <a:ea typeface="ＭＳ Ｐゴシック" charset="0"/>
              <a:cs typeface="Arial" panose="020B0604020202020204" pitchFamily="34" charset="0"/>
            </a:endParaRPr>
          </a:p>
          <a:p>
            <a:pPr fontAlgn="base">
              <a:spcBef>
                <a:spcPct val="0"/>
              </a:spcBef>
              <a:spcAft>
                <a:spcPts val="400"/>
              </a:spcAft>
              <a:buClr>
                <a:srgbClr val="FF7300"/>
              </a:buClr>
            </a:pPr>
            <a:r>
              <a:rPr lang="fi-FI" sz="1200" spc="-30" dirty="0">
                <a:solidFill>
                  <a:srgbClr val="000000"/>
                </a:solidFill>
                <a:ea typeface="ＭＳ Ｐゴシック" charset="0"/>
                <a:cs typeface="Arial" panose="020B0604020202020204" pitchFamily="34" charset="0"/>
              </a:rPr>
              <a:t>27,400 MW Installed Base in Asia &amp; Middles East</a:t>
            </a:r>
          </a:p>
        </p:txBody>
      </p:sp>
      <p:sp>
        <p:nvSpPr>
          <p:cNvPr id="28" name="Rectangle 27"/>
          <p:cNvSpPr/>
          <p:nvPr/>
        </p:nvSpPr>
        <p:spPr>
          <a:xfrm>
            <a:off x="307810" y="3753163"/>
            <a:ext cx="13659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kern="0" dirty="0">
                <a:solidFill>
                  <a:srgbClr val="FF7303"/>
                </a:solidFill>
                <a:ea typeface="ＭＳ Ｐゴシック" charset="0"/>
                <a:cs typeface="Arial" panose="020B0604020202020204" pitchFamily="34" charset="0"/>
              </a:rPr>
              <a:t>Net sales</a:t>
            </a:r>
            <a:br>
              <a:rPr lang="en-GB" sz="1200" b="1" kern="0" dirty="0">
                <a:solidFill>
                  <a:srgbClr val="FF7303"/>
                </a:solidFill>
                <a:ea typeface="ＭＳ Ｐゴシック" charset="0"/>
                <a:cs typeface="Arial" panose="020B0604020202020204" pitchFamily="34" charset="0"/>
              </a:rPr>
            </a:br>
            <a:r>
              <a:rPr lang="en-GB" sz="1200" b="1" kern="0" dirty="0">
                <a:solidFill>
                  <a:srgbClr val="FF7303"/>
                </a:solidFill>
                <a:ea typeface="ＭＳ Ｐゴシック" charset="0"/>
                <a:cs typeface="Arial" panose="020B0604020202020204" pitchFamily="34" charset="0"/>
              </a:rPr>
              <a:t>by business</a:t>
            </a:r>
            <a:br>
              <a:rPr lang="en-GB" sz="1200" b="1" kern="0" dirty="0">
                <a:solidFill>
                  <a:srgbClr val="FF7303"/>
                </a:solidFill>
                <a:ea typeface="ＭＳ Ｐゴシック" charset="0"/>
                <a:cs typeface="Arial" panose="020B0604020202020204" pitchFamily="34" charset="0"/>
              </a:rPr>
            </a:br>
            <a:r>
              <a:rPr lang="en-GB" sz="1200" b="1" kern="0" dirty="0">
                <a:solidFill>
                  <a:srgbClr val="FF7303"/>
                </a:solidFill>
                <a:ea typeface="ＭＳ Ｐゴシック" charset="0"/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29" name="Text Box 12"/>
          <p:cNvSpPr txBox="1">
            <a:spLocks noChangeArrowheads="1"/>
          </p:cNvSpPr>
          <p:nvPr/>
        </p:nvSpPr>
        <p:spPr bwMode="auto">
          <a:xfrm>
            <a:off x="7302424" y="2307662"/>
            <a:ext cx="282642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i-FI" b="1" dirty="0">
                <a:solidFill>
                  <a:srgbClr val="004A6B"/>
                </a:solidFill>
                <a:ea typeface="ＭＳ Ｐゴシック" charset="0"/>
                <a:cs typeface="Arial" panose="020B0604020202020204" pitchFamily="34" charset="0"/>
              </a:rPr>
              <a:t>18,800 </a:t>
            </a:r>
            <a:r>
              <a:rPr lang="fi-FI" sz="1400" b="1" dirty="0">
                <a:solidFill>
                  <a:srgbClr val="004A6B"/>
                </a:solidFill>
                <a:ea typeface="ＭＳ Ｐゴシック" charset="0"/>
                <a:cs typeface="Arial" panose="020B0604020202020204" pitchFamily="34" charset="0"/>
              </a:rPr>
              <a:t>PROFESSIONALS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03765" y="3090775"/>
            <a:ext cx="1097307" cy="65411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F6F82A4D-965F-4604-812D-5A791FB0A7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20683" y="3773108"/>
            <a:ext cx="4763114" cy="2793600"/>
          </a:xfrm>
          <a:prstGeom prst="rect">
            <a:avLst/>
          </a:prstGeom>
        </p:spPr>
      </p:pic>
      <p:sp>
        <p:nvSpPr>
          <p:cNvPr id="33" name="Oval 32"/>
          <p:cNvSpPr/>
          <p:nvPr/>
        </p:nvSpPr>
        <p:spPr bwMode="auto">
          <a:xfrm>
            <a:off x="4569532" y="2625830"/>
            <a:ext cx="1584000" cy="1584000"/>
          </a:xfrm>
          <a:prstGeom prst="ellipse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i-FI" sz="2000" kern="0">
              <a:solidFill>
                <a:srgbClr val="000000"/>
              </a:solidFill>
              <a:latin typeface="Calibri"/>
              <a:ea typeface="ＭＳ Ｐゴシック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8764" y="2990535"/>
            <a:ext cx="1321028" cy="877016"/>
          </a:xfrm>
          <a:prstGeom prst="rect">
            <a:avLst/>
          </a:prstGeom>
        </p:spPr>
      </p:pic>
      <p:sp>
        <p:nvSpPr>
          <p:cNvPr id="40" name="Right Triangle 2">
            <a:extLst>
              <a:ext uri="{FF2B5EF4-FFF2-40B4-BE49-F238E27FC236}">
                <a16:creationId xmlns:a16="http://schemas.microsoft.com/office/drawing/2014/main" xmlns="" id="{6F89CA9C-064B-4FDC-AA81-83725156A274}"/>
              </a:ext>
            </a:extLst>
          </p:cNvPr>
          <p:cNvSpPr/>
          <p:nvPr/>
        </p:nvSpPr>
        <p:spPr>
          <a:xfrm flipH="1">
            <a:off x="5664754" y="608207"/>
            <a:ext cx="4916037" cy="287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28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ERVICES</a:t>
            </a:r>
          </a:p>
        </p:txBody>
      </p:sp>
    </p:spTree>
    <p:extLst>
      <p:ext uri="{BB962C8B-B14F-4D97-AF65-F5344CB8AC3E}">
        <p14:creationId xmlns:p14="http://schemas.microsoft.com/office/powerpoint/2010/main" val="377122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FFA0A5-20AE-4360-9F63-E3A871AD0AE2}" type="datetime1">
              <a:rPr lang="fi-FI" smtClean="0">
                <a:solidFill>
                  <a:srgbClr val="808080"/>
                </a:solidFill>
              </a:rPr>
              <a:t>2.8.2018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808080"/>
                </a:solidFill>
              </a:rPr>
              <a:t>Wartsila / Greensmith Energy Storag Solutions</a:t>
            </a:r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>
                <a:solidFill>
                  <a:srgbClr val="808080"/>
                </a:solidFill>
              </a:rPr>
              <a:pPr/>
              <a:t>4</a:t>
            </a:fld>
            <a:endParaRPr lang="en-US">
              <a:solidFill>
                <a:srgbClr val="808080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-3600" y="-3600"/>
            <a:ext cx="3717099" cy="412009"/>
          </a:xfrm>
          <a:solidFill>
            <a:schemeClr val="accent1"/>
          </a:solidFill>
        </p:spPr>
        <p:txBody>
          <a:bodyPr/>
          <a:lstStyle/>
          <a:p>
            <a:r>
              <a:rPr lang="fi-FI" dirty="0"/>
              <a:t>Market share, &lt;500 MW market</a:t>
            </a:r>
            <a:endParaRPr lang="en-GB" dirty="0"/>
          </a:p>
        </p:txBody>
      </p:sp>
      <p:graphicFrame>
        <p:nvGraphicFramePr>
          <p:cNvPr id="13" name="Content Placeholder 10"/>
          <p:cNvGraphicFramePr>
            <a:graphicFrameLocks noGrp="1"/>
          </p:cNvGraphicFramePr>
          <p:nvPr>
            <p:ph sz="half" idx="1"/>
            <p:extLst/>
          </p:nvPr>
        </p:nvGraphicFramePr>
        <p:xfrm>
          <a:off x="704850" y="1506239"/>
          <a:ext cx="4939594" cy="4674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ontent Placeholder 11"/>
          <p:cNvGraphicFramePr>
            <a:graphicFrameLocks/>
          </p:cNvGraphicFramePr>
          <p:nvPr>
            <p:extLst/>
          </p:nvPr>
        </p:nvGraphicFramePr>
        <p:xfrm>
          <a:off x="6308725" y="1506239"/>
          <a:ext cx="4968875" cy="4674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2611260" y="3796152"/>
            <a:ext cx="316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000" dirty="0">
                <a:solidFill>
                  <a:srgbClr val="4D4D4D"/>
                </a:solidFill>
              </a:rPr>
              <a:t>17.0 GW</a:t>
            </a:r>
            <a:endParaRPr lang="en-GB" sz="2000" dirty="0" err="1">
              <a:solidFill>
                <a:srgbClr val="4D4D4D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116711" y="3841657"/>
            <a:ext cx="31608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2000" dirty="0">
                <a:solidFill>
                  <a:srgbClr val="4D4D4D"/>
                </a:solidFill>
              </a:rPr>
              <a:t>17.4 GW</a:t>
            </a:r>
            <a:endParaRPr lang="en-GB" sz="2000" dirty="0" err="1">
              <a:solidFill>
                <a:srgbClr val="4D4D4D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2120" y="5980921"/>
            <a:ext cx="62666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900" dirty="0">
                <a:solidFill>
                  <a:srgbClr val="737373"/>
                </a:solidFill>
              </a:rPr>
              <a:t>Source: McCoy Power Report </a:t>
            </a:r>
          </a:p>
          <a:p>
            <a:r>
              <a:rPr lang="fi-FI" sz="900" dirty="0">
                <a:solidFill>
                  <a:srgbClr val="737373"/>
                </a:solidFill>
              </a:rPr>
              <a:t>Includes GT-based gas and liquid-fuelled, &lt;500 MW power plants with prime movers above 5 MW</a:t>
            </a:r>
          </a:p>
          <a:p>
            <a:pPr>
              <a:defRPr/>
            </a:pPr>
            <a:r>
              <a:rPr lang="fi-FI" sz="900" dirty="0">
                <a:solidFill>
                  <a:srgbClr val="737373"/>
                </a:solidFill>
              </a:rPr>
              <a:t>Includes estimated output of steam turbines for combined cycles (factor 0.5 for industrial turbines, 0.25 for aeros)</a:t>
            </a:r>
          </a:p>
          <a:p>
            <a:pPr>
              <a:defRPr/>
            </a:pPr>
            <a:r>
              <a:rPr lang="fi-FI" sz="900" dirty="0">
                <a:solidFill>
                  <a:srgbClr val="737373"/>
                </a:solidFill>
              </a:rPr>
              <a:t>Oil &amp; Gas projects not included. Other combustion engines not included.</a:t>
            </a:r>
          </a:p>
        </p:txBody>
      </p:sp>
    </p:spTree>
    <p:extLst>
      <p:ext uri="{BB962C8B-B14F-4D97-AF65-F5344CB8AC3E}">
        <p14:creationId xmlns:p14="http://schemas.microsoft.com/office/powerpoint/2010/main" val="1502549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729549" y="2828843"/>
            <a:ext cx="1467690" cy="146769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736055" y="4398872"/>
            <a:ext cx="1467690" cy="146769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34"/>
          <a:stretch/>
        </p:blipFill>
        <p:spPr>
          <a:xfrm>
            <a:off x="8855551" y="0"/>
            <a:ext cx="3336449" cy="6858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453148" y="2722804"/>
            <a:ext cx="5858829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40"/>
              </a:lnSpc>
              <a:buClr>
                <a:prstClr val="white">
                  <a:lumMod val="95000"/>
                </a:prstClr>
              </a:buClr>
            </a:pPr>
            <a:r>
              <a:rPr lang="en-US" sz="1300" b="1" dirty="0">
                <a:solidFill>
                  <a:prstClr val="black">
                    <a:lumMod val="75000"/>
                    <a:lumOff val="25000"/>
                  </a:prst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Wärtsilä</a:t>
            </a:r>
          </a:p>
          <a:p>
            <a:pPr marL="285750" indent="-285750">
              <a:lnSpc>
                <a:spcPts val="1840"/>
              </a:lnSpc>
              <a:buClr>
                <a:prstClr val="black">
                  <a:lumMod val="75000"/>
                  <a:lumOff val="25000"/>
                </a:prstClr>
              </a:buClr>
              <a:buSzPct val="100000"/>
              <a:buFont typeface="Arial" charset="0"/>
              <a:buChar char="•"/>
            </a:pPr>
            <a:r>
              <a:rPr lang="en-US" sz="1300" dirty="0">
                <a:solidFill>
                  <a:prstClr val="black">
                    <a:lumMod val="75000"/>
                    <a:lumOff val="25000"/>
                  </a:prst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eading systems integrator for ultra-flexible internal combustion engine based power plants, solar PV and LNG</a:t>
            </a:r>
          </a:p>
          <a:p>
            <a:pPr marL="285750" indent="-285750">
              <a:lnSpc>
                <a:spcPts val="1840"/>
              </a:lnSpc>
              <a:buClr>
                <a:prstClr val="black">
                  <a:lumMod val="75000"/>
                  <a:lumOff val="25000"/>
                </a:prstClr>
              </a:buClr>
              <a:buSzPct val="100000"/>
              <a:buFont typeface="Arial" charset="0"/>
              <a:buChar char="•"/>
            </a:pPr>
            <a:r>
              <a:rPr lang="en-US" sz="1300" dirty="0">
                <a:solidFill>
                  <a:prstClr val="black">
                    <a:lumMod val="75000"/>
                    <a:lumOff val="25000"/>
                  </a:prst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Over 63 GW deployed in 176 countries; Strong market share in Caribbean</a:t>
            </a:r>
          </a:p>
          <a:p>
            <a:pPr marL="285750" indent="-285750">
              <a:lnSpc>
                <a:spcPts val="1840"/>
              </a:lnSpc>
              <a:buClr>
                <a:prstClr val="black">
                  <a:lumMod val="75000"/>
                  <a:lumOff val="25000"/>
                </a:prstClr>
              </a:buClr>
              <a:buSzPct val="100000"/>
              <a:buFont typeface="Arial" charset="0"/>
              <a:buChar char="•"/>
            </a:pPr>
            <a:r>
              <a:rPr lang="en-US" sz="1300" dirty="0">
                <a:solidFill>
                  <a:prstClr val="black">
                    <a:lumMod val="75000"/>
                    <a:lumOff val="25000"/>
                  </a:prst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Global EPC capabilities</a:t>
            </a:r>
          </a:p>
          <a:p>
            <a:pPr marL="285750" indent="-285750">
              <a:lnSpc>
                <a:spcPts val="1840"/>
              </a:lnSpc>
              <a:buClr>
                <a:prstClr val="black">
                  <a:lumMod val="75000"/>
                  <a:lumOff val="25000"/>
                </a:prstClr>
              </a:buClr>
              <a:buSzPct val="100000"/>
              <a:buFont typeface="Arial" charset="0"/>
              <a:buChar char="•"/>
            </a:pPr>
            <a:r>
              <a:rPr lang="en-US" sz="1300" dirty="0">
                <a:solidFill>
                  <a:prstClr val="black">
                    <a:lumMod val="75000"/>
                    <a:lumOff val="25000"/>
                  </a:prst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xperienced in electrically-islanded systems </a:t>
            </a:r>
            <a:br>
              <a:rPr lang="en-US" sz="1300" dirty="0">
                <a:solidFill>
                  <a:prstClr val="black">
                    <a:lumMod val="75000"/>
                    <a:lumOff val="25000"/>
                  </a:prstClr>
                </a:solidFill>
                <a:latin typeface="Helvetica Neue Light" charset="0"/>
                <a:ea typeface="Helvetica Neue Light" charset="0"/>
                <a:cs typeface="Helvetica Neue Light" charset="0"/>
              </a:rPr>
            </a:br>
            <a:endParaRPr lang="en-US" sz="1300" dirty="0">
              <a:solidFill>
                <a:prstClr val="black">
                  <a:lumMod val="75000"/>
                  <a:lumOff val="25000"/>
                </a:prstClr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>
              <a:lnSpc>
                <a:spcPts val="1840"/>
              </a:lnSpc>
              <a:buClr>
                <a:prstClr val="white">
                  <a:lumMod val="95000"/>
                </a:prstClr>
              </a:buClr>
            </a:pPr>
            <a:r>
              <a:rPr lang="en-US" sz="1300" b="1" dirty="0">
                <a:solidFill>
                  <a:prstClr val="black">
                    <a:lumMod val="75000"/>
                    <a:lumOff val="25000"/>
                  </a:prst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Greensmith</a:t>
            </a:r>
            <a:endParaRPr lang="en-US" sz="1300" dirty="0">
              <a:solidFill>
                <a:prstClr val="black">
                  <a:lumMod val="75000"/>
                  <a:lumOff val="25000"/>
                </a:prstClr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  <a:p>
            <a:pPr marL="285750" indent="-285750">
              <a:lnSpc>
                <a:spcPts val="1840"/>
              </a:lnSpc>
              <a:buClr>
                <a:prstClr val="black">
                  <a:lumMod val="75000"/>
                  <a:lumOff val="25000"/>
                </a:prstClr>
              </a:buClr>
              <a:buSzPct val="100000"/>
              <a:buFont typeface="Arial" charset="0"/>
              <a:buChar char="•"/>
            </a:pPr>
            <a:r>
              <a:rPr lang="en-US" sz="1300" dirty="0">
                <a:solidFill>
                  <a:prstClr val="black">
                    <a:lumMod val="75000"/>
                    <a:lumOff val="25000"/>
                  </a:prst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stablished energy storage leader –  unparalleled experience, rapid deployment and proven performance and safety</a:t>
            </a:r>
          </a:p>
          <a:p>
            <a:pPr marL="285750" indent="-285750">
              <a:lnSpc>
                <a:spcPts val="1840"/>
              </a:lnSpc>
              <a:buClr>
                <a:prstClr val="black">
                  <a:lumMod val="75000"/>
                  <a:lumOff val="25000"/>
                </a:prstClr>
              </a:buClr>
              <a:buSzPct val="100000"/>
              <a:buFont typeface="Arial" charset="0"/>
              <a:buChar char="•"/>
            </a:pPr>
            <a:r>
              <a:rPr lang="en-US" sz="1300" dirty="0">
                <a:solidFill>
                  <a:prstClr val="black">
                    <a:lumMod val="75000"/>
                    <a:lumOff val="25000"/>
                  </a:prst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Deployed over 150MW energy storage – including largest indoor system in North America</a:t>
            </a:r>
          </a:p>
          <a:p>
            <a:pPr marL="285750" indent="-285750">
              <a:lnSpc>
                <a:spcPts val="1840"/>
              </a:lnSpc>
              <a:buClr>
                <a:prstClr val="black">
                  <a:lumMod val="75000"/>
                  <a:lumOff val="25000"/>
                </a:prstClr>
              </a:buClr>
              <a:buSzPct val="100000"/>
              <a:buFont typeface="Arial" charset="0"/>
              <a:buChar char="•"/>
            </a:pPr>
            <a:r>
              <a:rPr lang="en-US" sz="1300" dirty="0">
                <a:solidFill>
                  <a:prstClr val="black">
                    <a:lumMod val="75000"/>
                    <a:lumOff val="25000"/>
                  </a:prst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Leading energy storage management software controls to optimize and monetize solar + PV</a:t>
            </a:r>
          </a:p>
          <a:p>
            <a:pPr marL="285750" indent="-285750">
              <a:lnSpc>
                <a:spcPts val="1840"/>
              </a:lnSpc>
              <a:buClr>
                <a:prstClr val="black">
                  <a:lumMod val="75000"/>
                  <a:lumOff val="25000"/>
                </a:prstClr>
              </a:buClr>
              <a:buSzPct val="100000"/>
              <a:buFont typeface="Arial" charset="0"/>
              <a:buChar char="•"/>
            </a:pPr>
            <a:r>
              <a:rPr lang="en-US" sz="1300" dirty="0">
                <a:solidFill>
                  <a:prstClr val="black">
                    <a:lumMod val="75000"/>
                    <a:lumOff val="25000"/>
                  </a:prstClr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Technology-neutral for best of breed and future-proofing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83914" y="1166306"/>
            <a:ext cx="7514484" cy="8874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80"/>
              </a:lnSpc>
              <a:buClr>
                <a:srgbClr val="FF7321"/>
              </a:buClr>
            </a:pPr>
            <a:r>
              <a:rPr lang="en-US" sz="2900" b="1" spc="100" dirty="0">
                <a:solidFill>
                  <a:srgbClr val="00935E"/>
                </a:solidFill>
                <a:latin typeface="Helvetica Neue" charset="0"/>
                <a:ea typeface="Helvetica Neue" charset="0"/>
                <a:cs typeface="Helvetica Neue" charset="0"/>
              </a:rPr>
              <a:t>Greensmith</a:t>
            </a:r>
            <a:r>
              <a:rPr lang="en-US" sz="2900" b="1" spc="100" dirty="0">
                <a:solidFill>
                  <a:srgbClr val="0F334A"/>
                </a:solidFill>
                <a:latin typeface="Helvetica Neue" charset="0"/>
                <a:ea typeface="Helvetica Neue" charset="0"/>
                <a:cs typeface="Helvetica Neue" charset="0"/>
              </a:rPr>
              <a:t/>
            </a:r>
            <a:br>
              <a:rPr lang="en-US" sz="2900" b="1" spc="100" dirty="0">
                <a:solidFill>
                  <a:srgbClr val="0F334A"/>
                </a:solidFill>
                <a:latin typeface="Helvetica Neue" charset="0"/>
                <a:ea typeface="Helvetica Neue" charset="0"/>
                <a:cs typeface="Helvetica Neue" charset="0"/>
              </a:rPr>
            </a:br>
            <a:r>
              <a:rPr lang="en-US" sz="2900" b="1" spc="100" dirty="0">
                <a:solidFill>
                  <a:srgbClr val="0F334A"/>
                </a:solidFill>
                <a:latin typeface="Helvetica Neue" charset="0"/>
                <a:ea typeface="Helvetica Neue" charset="0"/>
                <a:cs typeface="Helvetica Neue" charset="0"/>
              </a:rPr>
              <a:t>A Wärtsilä Company</a:t>
            </a:r>
          </a:p>
        </p:txBody>
      </p:sp>
      <p:sp>
        <p:nvSpPr>
          <p:cNvPr id="3" name="Rectangle 2"/>
          <p:cNvSpPr/>
          <p:nvPr/>
        </p:nvSpPr>
        <p:spPr>
          <a:xfrm>
            <a:off x="8851215" y="4836529"/>
            <a:ext cx="3338849" cy="2021471"/>
          </a:xfrm>
          <a:prstGeom prst="rect">
            <a:avLst/>
          </a:prstGeom>
          <a:gradFill flip="none" rotWithShape="1">
            <a:gsLst>
              <a:gs pos="100000">
                <a:schemeClr val="tx1">
                  <a:lumMod val="98000"/>
                  <a:alpha val="69000"/>
                </a:schemeClr>
              </a:gs>
              <a:gs pos="10000">
                <a:schemeClr val="tx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74770" y="2070921"/>
            <a:ext cx="69128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FF7321"/>
                </a:solidFill>
                <a:latin typeface="Helvetica Neue" charset="0"/>
                <a:ea typeface="Helvetica Neue" charset="0"/>
                <a:cs typeface="Helvetica Neue" charset="0"/>
              </a:rPr>
              <a:t>On July 3, 2017 Wärtsilä completed its acquisition of Greensmith</a:t>
            </a: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0931"/>
          <a:stretch/>
        </p:blipFill>
        <p:spPr>
          <a:xfrm>
            <a:off x="926389" y="3191631"/>
            <a:ext cx="1040023" cy="704207"/>
          </a:xfrm>
          <a:prstGeom prst="rect">
            <a:avLst/>
          </a:prstGeom>
        </p:spPr>
      </p:pic>
      <p:sp>
        <p:nvSpPr>
          <p:cNvPr id="24" name="Freeform 23"/>
          <p:cNvSpPr/>
          <p:nvPr/>
        </p:nvSpPr>
        <p:spPr>
          <a:xfrm>
            <a:off x="-13758" y="-19900"/>
            <a:ext cx="3131672" cy="1245930"/>
          </a:xfrm>
          <a:custGeom>
            <a:avLst/>
            <a:gdLst>
              <a:gd name="connsiteX0" fmla="*/ 26601 w 2041606"/>
              <a:gd name="connsiteY0" fmla="*/ 1197032 h 1243584"/>
              <a:gd name="connsiteX1" fmla="*/ 375736 w 2041606"/>
              <a:gd name="connsiteY1" fmla="*/ 625117 h 1243584"/>
              <a:gd name="connsiteX2" fmla="*/ 1669196 w 2041606"/>
              <a:gd name="connsiteY2" fmla="*/ 631767 h 1243584"/>
              <a:gd name="connsiteX3" fmla="*/ 2041606 w 2041606"/>
              <a:gd name="connsiteY3" fmla="*/ 0 h 1243584"/>
              <a:gd name="connsiteX4" fmla="*/ 0 w 2041606"/>
              <a:gd name="connsiteY4" fmla="*/ 0 h 1243584"/>
              <a:gd name="connsiteX5" fmla="*/ 0 w 2041606"/>
              <a:gd name="connsiteY5" fmla="*/ 1243584 h 1243584"/>
              <a:gd name="connsiteX6" fmla="*/ 26601 w 2041606"/>
              <a:gd name="connsiteY6" fmla="*/ 1197032 h 1243584"/>
              <a:gd name="connsiteX0" fmla="*/ 26601 w 2862377"/>
              <a:gd name="connsiteY0" fmla="*/ 1197032 h 1243584"/>
              <a:gd name="connsiteX1" fmla="*/ 375736 w 2862377"/>
              <a:gd name="connsiteY1" fmla="*/ 625117 h 1243584"/>
              <a:gd name="connsiteX2" fmla="*/ 2862377 w 2862377"/>
              <a:gd name="connsiteY2" fmla="*/ 631767 h 1243584"/>
              <a:gd name="connsiteX3" fmla="*/ 2041606 w 2862377"/>
              <a:gd name="connsiteY3" fmla="*/ 0 h 1243584"/>
              <a:gd name="connsiteX4" fmla="*/ 0 w 2862377"/>
              <a:gd name="connsiteY4" fmla="*/ 0 h 1243584"/>
              <a:gd name="connsiteX5" fmla="*/ 0 w 2862377"/>
              <a:gd name="connsiteY5" fmla="*/ 1243584 h 1243584"/>
              <a:gd name="connsiteX6" fmla="*/ 26601 w 2862377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862377 w 3257089"/>
              <a:gd name="connsiteY2" fmla="*/ 631767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09465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29284 w 3257089"/>
              <a:gd name="connsiteY2" fmla="*/ 631768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57089"/>
              <a:gd name="connsiteY0" fmla="*/ 1197032 h 1243584"/>
              <a:gd name="connsiteX1" fmla="*/ 375736 w 3257089"/>
              <a:gd name="connsiteY1" fmla="*/ 625117 h 1243584"/>
              <a:gd name="connsiteX2" fmla="*/ 2962738 w 3257089"/>
              <a:gd name="connsiteY2" fmla="*/ 620616 h 1243584"/>
              <a:gd name="connsiteX3" fmla="*/ 3257089 w 3257089"/>
              <a:gd name="connsiteY3" fmla="*/ 11152 h 1243584"/>
              <a:gd name="connsiteX4" fmla="*/ 0 w 3257089"/>
              <a:gd name="connsiteY4" fmla="*/ 0 h 1243584"/>
              <a:gd name="connsiteX5" fmla="*/ 0 w 3257089"/>
              <a:gd name="connsiteY5" fmla="*/ 1243584 h 1243584"/>
              <a:gd name="connsiteX6" fmla="*/ 26601 w 3257089"/>
              <a:gd name="connsiteY6" fmla="*/ 1197032 h 1243584"/>
              <a:gd name="connsiteX0" fmla="*/ 26601 w 3279391"/>
              <a:gd name="connsiteY0" fmla="*/ 1197032 h 1243584"/>
              <a:gd name="connsiteX1" fmla="*/ 375736 w 3279391"/>
              <a:gd name="connsiteY1" fmla="*/ 625117 h 1243584"/>
              <a:gd name="connsiteX2" fmla="*/ 2962738 w 3279391"/>
              <a:gd name="connsiteY2" fmla="*/ 620616 h 1243584"/>
              <a:gd name="connsiteX3" fmla="*/ 3279391 w 3279391"/>
              <a:gd name="connsiteY3" fmla="*/ 0 h 1243584"/>
              <a:gd name="connsiteX4" fmla="*/ 0 w 3279391"/>
              <a:gd name="connsiteY4" fmla="*/ 0 h 1243584"/>
              <a:gd name="connsiteX5" fmla="*/ 0 w 3279391"/>
              <a:gd name="connsiteY5" fmla="*/ 1243584 h 1243584"/>
              <a:gd name="connsiteX6" fmla="*/ 26601 w 3279391"/>
              <a:gd name="connsiteY6" fmla="*/ 1197032 h 1243584"/>
              <a:gd name="connsiteX0" fmla="*/ 26601 w 3279391"/>
              <a:gd name="connsiteY0" fmla="*/ 1208183 h 1254735"/>
              <a:gd name="connsiteX1" fmla="*/ 375736 w 3279391"/>
              <a:gd name="connsiteY1" fmla="*/ 636268 h 1254735"/>
              <a:gd name="connsiteX2" fmla="*/ 2962738 w 3279391"/>
              <a:gd name="connsiteY2" fmla="*/ 631767 h 1254735"/>
              <a:gd name="connsiteX3" fmla="*/ 3279391 w 3279391"/>
              <a:gd name="connsiteY3" fmla="*/ 0 h 1254735"/>
              <a:gd name="connsiteX4" fmla="*/ 0 w 3279391"/>
              <a:gd name="connsiteY4" fmla="*/ 11151 h 1254735"/>
              <a:gd name="connsiteX5" fmla="*/ 0 w 3279391"/>
              <a:gd name="connsiteY5" fmla="*/ 1254735 h 1254735"/>
              <a:gd name="connsiteX6" fmla="*/ 26601 w 3279391"/>
              <a:gd name="connsiteY6" fmla="*/ 1208183 h 1254735"/>
              <a:gd name="connsiteX0" fmla="*/ 26601 w 3022913"/>
              <a:gd name="connsiteY0" fmla="*/ 1420056 h 1466608"/>
              <a:gd name="connsiteX1" fmla="*/ 375736 w 3022913"/>
              <a:gd name="connsiteY1" fmla="*/ 848141 h 1466608"/>
              <a:gd name="connsiteX2" fmla="*/ 2962738 w 3022913"/>
              <a:gd name="connsiteY2" fmla="*/ 843640 h 1466608"/>
              <a:gd name="connsiteX3" fmla="*/ 3022913 w 3022913"/>
              <a:gd name="connsiteY3" fmla="*/ 0 h 1466608"/>
              <a:gd name="connsiteX4" fmla="*/ 0 w 3022913"/>
              <a:gd name="connsiteY4" fmla="*/ 223024 h 1466608"/>
              <a:gd name="connsiteX5" fmla="*/ 0 w 3022913"/>
              <a:gd name="connsiteY5" fmla="*/ 1466608 h 1466608"/>
              <a:gd name="connsiteX6" fmla="*/ 26601 w 3022913"/>
              <a:gd name="connsiteY6" fmla="*/ 1420056 h 1466608"/>
              <a:gd name="connsiteX0" fmla="*/ 26601 w 3179030"/>
              <a:gd name="connsiteY0" fmla="*/ 1208183 h 1254735"/>
              <a:gd name="connsiteX1" fmla="*/ 375736 w 3179030"/>
              <a:gd name="connsiteY1" fmla="*/ 636268 h 1254735"/>
              <a:gd name="connsiteX2" fmla="*/ 2962738 w 3179030"/>
              <a:gd name="connsiteY2" fmla="*/ 631767 h 1254735"/>
              <a:gd name="connsiteX3" fmla="*/ 3179030 w 3179030"/>
              <a:gd name="connsiteY3" fmla="*/ 0 h 1254735"/>
              <a:gd name="connsiteX4" fmla="*/ 0 w 3179030"/>
              <a:gd name="connsiteY4" fmla="*/ 11151 h 1254735"/>
              <a:gd name="connsiteX5" fmla="*/ 0 w 3179030"/>
              <a:gd name="connsiteY5" fmla="*/ 1254735 h 1254735"/>
              <a:gd name="connsiteX6" fmla="*/ 26601 w 317903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2962738 w 4361060"/>
              <a:gd name="connsiteY2" fmla="*/ 631767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208183 h 1254735"/>
              <a:gd name="connsiteX1" fmla="*/ 375736 w 4361060"/>
              <a:gd name="connsiteY1" fmla="*/ 636268 h 1254735"/>
              <a:gd name="connsiteX2" fmla="*/ 3999802 w 4361060"/>
              <a:gd name="connsiteY2" fmla="*/ 642918 h 1254735"/>
              <a:gd name="connsiteX3" fmla="*/ 4361060 w 4361060"/>
              <a:gd name="connsiteY3" fmla="*/ 0 h 1254735"/>
              <a:gd name="connsiteX4" fmla="*/ 0 w 4361060"/>
              <a:gd name="connsiteY4" fmla="*/ 11151 h 1254735"/>
              <a:gd name="connsiteX5" fmla="*/ 0 w 4361060"/>
              <a:gd name="connsiteY5" fmla="*/ 1254735 h 1254735"/>
              <a:gd name="connsiteX6" fmla="*/ 26601 w 4361060"/>
              <a:gd name="connsiteY6" fmla="*/ 1208183 h 1254735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3999802 w 4361060"/>
              <a:gd name="connsiteY2" fmla="*/ 631767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09906 w 4361060"/>
              <a:gd name="connsiteY2" fmla="*/ 626715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1060"/>
              <a:gd name="connsiteY0" fmla="*/ 1197032 h 1243584"/>
              <a:gd name="connsiteX1" fmla="*/ 375736 w 4361060"/>
              <a:gd name="connsiteY1" fmla="*/ 625117 h 1243584"/>
              <a:gd name="connsiteX2" fmla="*/ 4020010 w 4361060"/>
              <a:gd name="connsiteY2" fmla="*/ 621663 h 1243584"/>
              <a:gd name="connsiteX3" fmla="*/ 4361060 w 4361060"/>
              <a:gd name="connsiteY3" fmla="*/ 14108 h 1243584"/>
              <a:gd name="connsiteX4" fmla="*/ 0 w 4361060"/>
              <a:gd name="connsiteY4" fmla="*/ 0 h 1243584"/>
              <a:gd name="connsiteX5" fmla="*/ 0 w 4361060"/>
              <a:gd name="connsiteY5" fmla="*/ 1243584 h 1243584"/>
              <a:gd name="connsiteX6" fmla="*/ 26601 w 4361060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1663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7032 h 1243584"/>
              <a:gd name="connsiteX1" fmla="*/ 375736 w 4366112"/>
              <a:gd name="connsiteY1" fmla="*/ 625117 h 1243584"/>
              <a:gd name="connsiteX2" fmla="*/ 4020010 w 4366112"/>
              <a:gd name="connsiteY2" fmla="*/ 624838 h 1243584"/>
              <a:gd name="connsiteX3" fmla="*/ 4366112 w 4366112"/>
              <a:gd name="connsiteY3" fmla="*/ 4004 h 1243584"/>
              <a:gd name="connsiteX4" fmla="*/ 0 w 4366112"/>
              <a:gd name="connsiteY4" fmla="*/ 0 h 1243584"/>
              <a:gd name="connsiteX5" fmla="*/ 0 w 4366112"/>
              <a:gd name="connsiteY5" fmla="*/ 1243584 h 1243584"/>
              <a:gd name="connsiteX6" fmla="*/ 26601 w 4366112"/>
              <a:gd name="connsiteY6" fmla="*/ 1197032 h 1243584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4020010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4366112"/>
              <a:gd name="connsiteY0" fmla="*/ 1199378 h 1245930"/>
              <a:gd name="connsiteX1" fmla="*/ 375736 w 4366112"/>
              <a:gd name="connsiteY1" fmla="*/ 627463 h 1245930"/>
              <a:gd name="connsiteX2" fmla="*/ 2803858 w 4366112"/>
              <a:gd name="connsiteY2" fmla="*/ 627184 h 1245930"/>
              <a:gd name="connsiteX3" fmla="*/ 4366112 w 4366112"/>
              <a:gd name="connsiteY3" fmla="*/ 0 h 1245930"/>
              <a:gd name="connsiteX4" fmla="*/ 0 w 4366112"/>
              <a:gd name="connsiteY4" fmla="*/ 2346 h 1245930"/>
              <a:gd name="connsiteX5" fmla="*/ 0 w 4366112"/>
              <a:gd name="connsiteY5" fmla="*/ 1245930 h 1245930"/>
              <a:gd name="connsiteX6" fmla="*/ 26601 w 4366112"/>
              <a:gd name="connsiteY6" fmla="*/ 1199378 h 1245930"/>
              <a:gd name="connsiteX0" fmla="*/ 26601 w 3131672"/>
              <a:gd name="connsiteY0" fmla="*/ 1199378 h 1245930"/>
              <a:gd name="connsiteX1" fmla="*/ 375736 w 3131672"/>
              <a:gd name="connsiteY1" fmla="*/ 627463 h 1245930"/>
              <a:gd name="connsiteX2" fmla="*/ 2803858 w 3131672"/>
              <a:gd name="connsiteY2" fmla="*/ 627184 h 1245930"/>
              <a:gd name="connsiteX3" fmla="*/ 3131672 w 3131672"/>
              <a:gd name="connsiteY3" fmla="*/ 0 h 1245930"/>
              <a:gd name="connsiteX4" fmla="*/ 0 w 3131672"/>
              <a:gd name="connsiteY4" fmla="*/ 2346 h 1245930"/>
              <a:gd name="connsiteX5" fmla="*/ 0 w 3131672"/>
              <a:gd name="connsiteY5" fmla="*/ 1245930 h 1245930"/>
              <a:gd name="connsiteX6" fmla="*/ 26601 w 3131672"/>
              <a:gd name="connsiteY6" fmla="*/ 1199378 h 12459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131672" h="1245930">
                <a:moveTo>
                  <a:pt x="26601" y="1199378"/>
                </a:moveTo>
                <a:lnTo>
                  <a:pt x="375736" y="627463"/>
                </a:lnTo>
                <a:lnTo>
                  <a:pt x="2803858" y="627184"/>
                </a:lnTo>
                <a:lnTo>
                  <a:pt x="3131672" y="0"/>
                </a:lnTo>
                <a:lnTo>
                  <a:pt x="0" y="2346"/>
                </a:lnTo>
                <a:lnTo>
                  <a:pt x="0" y="1245930"/>
                </a:lnTo>
                <a:lnTo>
                  <a:pt x="26601" y="1199378"/>
                </a:lnTo>
                <a:close/>
              </a:path>
            </a:pathLst>
          </a:custGeom>
          <a:solidFill>
            <a:schemeClr val="accent2"/>
          </a:solidFill>
          <a:ln w="3175">
            <a:solidFill>
              <a:schemeClr val="bg1">
                <a:lumMod val="75000"/>
              </a:schemeClr>
            </a:solidFill>
          </a:ln>
          <a:effectLst>
            <a:glow>
              <a:schemeClr val="accent1"/>
            </a:glow>
            <a:reflection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8835706" y="138798"/>
            <a:ext cx="3100338" cy="3170099"/>
            <a:chOff x="422682" y="402324"/>
            <a:chExt cx="3100338" cy="3170099"/>
          </a:xfrm>
        </p:grpSpPr>
        <p:sp>
          <p:nvSpPr>
            <p:cNvPr id="27" name="TextBox 26"/>
            <p:cNvSpPr txBox="1"/>
            <p:nvPr/>
          </p:nvSpPr>
          <p:spPr>
            <a:xfrm>
              <a:off x="422682" y="402324"/>
              <a:ext cx="1723549" cy="31700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0" b="1" dirty="0">
                  <a:solidFill>
                    <a:prstClr val="white"/>
                  </a:solidFill>
                  <a:effectLst>
                    <a:glow>
                      <a:srgbClr val="4472C4"/>
                    </a:glow>
                  </a:effectLst>
                  <a:latin typeface="Helvetica Neue" charset="0"/>
                  <a:ea typeface="Helvetica Neue" charset="0"/>
                  <a:cs typeface="Helvetica Neue" charset="0"/>
                </a:rPr>
                <a:t>+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2568913" y="864860"/>
              <a:ext cx="954107" cy="16312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0000" b="1" dirty="0">
                  <a:solidFill>
                    <a:prstClr val="white"/>
                  </a:solidFill>
                  <a:effectLst>
                    <a:glow>
                      <a:srgbClr val="4472C4"/>
                    </a:glow>
                  </a:effectLst>
                  <a:latin typeface="Helvetica Neue" charset="0"/>
                  <a:ea typeface="Helvetica Neue" charset="0"/>
                  <a:cs typeface="Helvetica Neue" charset="0"/>
                </a:rPr>
                <a:t>+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2084041" y="712214"/>
              <a:ext cx="412672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800" b="1" dirty="0">
                  <a:solidFill>
                    <a:prstClr val="white"/>
                  </a:solidFill>
                  <a:effectLst>
                    <a:glow>
                      <a:srgbClr val="4472C4"/>
                    </a:glow>
                  </a:effectLst>
                  <a:latin typeface="Helvetica Neue" charset="0"/>
                  <a:ea typeface="Helvetica Neue" charset="0"/>
                  <a:cs typeface="Helvetica Neue" charset="0"/>
                </a:rPr>
                <a:t>+</a:t>
              </a:r>
            </a:p>
          </p:txBody>
        </p:sp>
      </p:grpSp>
      <p:pic>
        <p:nvPicPr>
          <p:cNvPr id="19" name="Picture 18"/>
          <p:cNvPicPr>
            <a:picLocks noChangeAspect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bg2">
                <a:shade val="45000"/>
                <a:satMod val="135000"/>
              </a:schemeClr>
              <a:prstClr val="white"/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19" y="167506"/>
            <a:ext cx="674740" cy="47231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61420" y="6008891"/>
            <a:ext cx="674624" cy="690880"/>
          </a:xfrm>
          <a:prstGeom prst="rect">
            <a:avLst/>
          </a:prstGeom>
          <a:noFill/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830" y="4954673"/>
            <a:ext cx="1350139" cy="427338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94752" y="138798"/>
            <a:ext cx="16716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2840469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Date Placeholder 3">
            <a:extLst>
              <a:ext uri="{FF2B5EF4-FFF2-40B4-BE49-F238E27FC236}">
                <a16:creationId xmlns:a16="http://schemas.microsoft.com/office/drawing/2014/main" xmlns="" id="{FDE3E68E-A094-4ED6-B272-8752ABCBA98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r>
              <a:rPr lang="fi-FI" dirty="0"/>
              <a:t>4Q 2017</a:t>
            </a:r>
            <a:endParaRPr lang="en-US" dirty="0"/>
          </a:p>
        </p:txBody>
      </p:sp>
      <p:sp>
        <p:nvSpPr>
          <p:cNvPr id="44" name="Footer Placeholder 4"/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Michael J Kendzierski</a:t>
            </a:r>
          </a:p>
        </p:txBody>
      </p:sp>
      <p:sp>
        <p:nvSpPr>
          <p:cNvPr id="40" name="Slide Number Placeholder 5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accent4"/>
                </a:solidFill>
              </a:defRPr>
            </a:lvl1pPr>
          </a:lstStyle>
          <a:p>
            <a:fld id="{5F80C46A-BDF6-478F-96A5-81B6E525D8B8}" type="slidenum">
              <a:rPr lang="en-US" smtClean="0"/>
              <a:t>6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>
                <a:latin typeface="+mn-lt"/>
              </a:rPr>
              <a:t>The Modern Power System in the South pacific is facing Many Challeng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5599" y="2771919"/>
            <a:ext cx="5415115" cy="2475589"/>
          </a:xfrm>
        </p:spPr>
        <p:txBody>
          <a:bodyPr>
            <a:normAutofit/>
          </a:bodyPr>
          <a:lstStyle/>
          <a:p>
            <a:r>
              <a:rPr lang="en-US" sz="2400" dirty="0"/>
              <a:t>Renewables Penetration rates</a:t>
            </a:r>
          </a:p>
          <a:p>
            <a:r>
              <a:rPr lang="en-US" sz="2400" dirty="0"/>
              <a:t>Ramp rates and Curtailment </a:t>
            </a:r>
          </a:p>
          <a:p>
            <a:r>
              <a:rPr lang="en-US" sz="2400" dirty="0"/>
              <a:t>Less Visibility / Fluctuating Demand</a:t>
            </a:r>
          </a:p>
          <a:p>
            <a:r>
              <a:rPr lang="en-US" sz="2400" dirty="0"/>
              <a:t>Peaks shifting into evening</a:t>
            </a:r>
          </a:p>
          <a:p>
            <a:r>
              <a:rPr lang="en-US" sz="2400" dirty="0"/>
              <a:t>Aging equipment</a:t>
            </a:r>
          </a:p>
          <a:p>
            <a:endParaRPr lang="en-US" sz="240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-3600" y="-14372"/>
            <a:ext cx="3659391" cy="433553"/>
          </a:xfrm>
        </p:spPr>
        <p:txBody>
          <a:bodyPr/>
          <a:lstStyle/>
          <a:p>
            <a:pPr marL="342900" indent="-342900"/>
            <a:r>
              <a:rPr lang="en-US" dirty="0"/>
              <a:t>The Case for Energy Storage</a:t>
            </a:r>
          </a:p>
        </p:txBody>
      </p:sp>
      <p:sp>
        <p:nvSpPr>
          <p:cNvPr id="39" name="Rectangle 38"/>
          <p:cNvSpPr/>
          <p:nvPr/>
        </p:nvSpPr>
        <p:spPr bwMode="hidden">
          <a:xfrm>
            <a:off x="0" y="6606000"/>
            <a:ext cx="12204000" cy="252000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4"/>
              </a:solidFill>
            </a:endParaRPr>
          </a:p>
        </p:txBody>
      </p:sp>
      <p:sp>
        <p:nvSpPr>
          <p:cNvPr id="41" name="Copyright"/>
          <p:cNvSpPr txBox="1"/>
          <p:nvPr/>
        </p:nvSpPr>
        <p:spPr>
          <a:xfrm>
            <a:off x="809109" y="6652037"/>
            <a:ext cx="504056" cy="14428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700" dirty="0">
                <a:solidFill>
                  <a:schemeClr val="accent4"/>
                </a:solidFill>
              </a:rPr>
              <a:t>© Wärtsilä</a:t>
            </a:r>
          </a:p>
        </p:txBody>
      </p:sp>
      <p:sp>
        <p:nvSpPr>
          <p:cNvPr id="42" name="KRONO_CP_Class"/>
          <p:cNvSpPr txBox="1"/>
          <p:nvPr/>
        </p:nvSpPr>
        <p:spPr>
          <a:xfrm>
            <a:off x="1582736" y="6669638"/>
            <a:ext cx="1496219" cy="107722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noAutofit/>
          </a:bodyPr>
          <a:lstStyle/>
          <a:p>
            <a:r>
              <a:rPr lang="fi-FI" sz="900" b="0" cap="all" spc="100" dirty="0">
                <a:solidFill>
                  <a:schemeClr val="accent4"/>
                </a:solidFill>
              </a:rPr>
              <a:t>confidential</a:t>
            </a:r>
          </a:p>
        </p:txBody>
      </p:sp>
      <p:sp>
        <p:nvSpPr>
          <p:cNvPr id="45" name="KRONO_number"/>
          <p:cNvSpPr/>
          <p:nvPr/>
        </p:nvSpPr>
        <p:spPr bwMode="auto">
          <a:xfrm>
            <a:off x="7725156" y="6654304"/>
            <a:ext cx="720081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i-FI" sz="700" b="0" i="0" u="none" strike="noStrike" cap="none" normalizeH="0" baseline="0">
                <a:ln>
                  <a:noFill/>
                </a:ln>
                <a:solidFill>
                  <a:schemeClr val="accent4"/>
                </a:solidFill>
                <a:effectLst/>
              </a:rPr>
              <a:t> </a:t>
            </a:r>
            <a:endParaRPr kumimoji="0" lang="fi-FI" sz="700" b="0" i="0" u="none" strike="noStrike" cap="none" normalizeH="0" baseline="0" dirty="0">
              <a:ln>
                <a:noFill/>
              </a:ln>
              <a:solidFill>
                <a:schemeClr val="accent4"/>
              </a:solidFill>
              <a:effectLst/>
            </a:endParaRPr>
          </a:p>
        </p:txBody>
      </p:sp>
      <p:sp>
        <p:nvSpPr>
          <p:cNvPr id="46" name="KRONO_version"/>
          <p:cNvSpPr/>
          <p:nvPr/>
        </p:nvSpPr>
        <p:spPr bwMode="auto">
          <a:xfrm>
            <a:off x="9232122" y="6654304"/>
            <a:ext cx="288032" cy="144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i-FI" sz="700" b="0" i="0" u="none" strike="noStrike" cap="none" normalizeH="0" baseline="0">
                <a:ln>
                  <a:noFill/>
                </a:ln>
                <a:solidFill>
                  <a:schemeClr val="accent4"/>
                </a:solidFill>
                <a:effectLst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74021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DE45D-A422-482F-BE32-43B6485E8680}" type="datetime1">
              <a:rPr lang="fi-FI" smtClean="0"/>
              <a:t>2.8.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[Presentation name / Author]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80C46A-BDF6-478F-96A5-81B6E525D8B8}" type="slidenum">
              <a:rPr lang="en-US" smtClean="0"/>
              <a:t>7</a:t>
            </a:fld>
            <a:endParaRPr lang="en-US"/>
          </a:p>
        </p:txBody>
      </p:sp>
      <p:sp>
        <p:nvSpPr>
          <p:cNvPr id="23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kets for Ancillary Services are Developing Worldwide</a:t>
            </a:r>
          </a:p>
        </p:txBody>
      </p:sp>
      <p:pic>
        <p:nvPicPr>
          <p:cNvPr id="2050" name="Picture 2" descr="world map more detail by shokunin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5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2877" y="1496485"/>
            <a:ext cx="10871473" cy="5104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-3600" y="-14372"/>
            <a:ext cx="3447666" cy="433553"/>
          </a:xfrm>
        </p:spPr>
        <p:txBody>
          <a:bodyPr/>
          <a:lstStyle/>
          <a:p>
            <a:pPr marL="342900" indent="-342900"/>
            <a:r>
              <a:rPr lang="en-US" dirty="0"/>
              <a:t>Monetizing Energy Storage</a:t>
            </a:r>
          </a:p>
        </p:txBody>
      </p:sp>
      <p:sp>
        <p:nvSpPr>
          <p:cNvPr id="8" name="Line Callout 2 (Border and Accent Bar) 7"/>
          <p:cNvSpPr/>
          <p:nvPr/>
        </p:nvSpPr>
        <p:spPr>
          <a:xfrm>
            <a:off x="6519106" y="4004292"/>
            <a:ext cx="1372692" cy="665158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01826"/>
              <a:gd name="adj6" fmla="val -21294"/>
            </a:avLst>
          </a:prstGeom>
          <a:solidFill>
            <a:schemeClr val="accent1"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>
                <a:solidFill>
                  <a:schemeClr val="tx1"/>
                </a:solidFill>
              </a:rPr>
              <a:t>Germany/EU</a:t>
            </a:r>
          </a:p>
          <a:p>
            <a:r>
              <a:rPr lang="en-US" sz="1200" dirty="0">
                <a:solidFill>
                  <a:schemeClr val="tx1"/>
                </a:solidFill>
              </a:rPr>
              <a:t>PRC &gt; 1GW</a:t>
            </a:r>
          </a:p>
          <a:p>
            <a:r>
              <a:rPr lang="en-US" sz="1200" dirty="0">
                <a:solidFill>
                  <a:schemeClr val="tx1"/>
                </a:solidFill>
              </a:rPr>
              <a:t>Weekly Auction</a:t>
            </a:r>
          </a:p>
        </p:txBody>
      </p:sp>
      <p:sp>
        <p:nvSpPr>
          <p:cNvPr id="15" name="Line Callout 2 (Border and Accent Bar) 14"/>
          <p:cNvSpPr/>
          <p:nvPr/>
        </p:nvSpPr>
        <p:spPr>
          <a:xfrm>
            <a:off x="4914383" y="1496485"/>
            <a:ext cx="1880579" cy="859127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52322"/>
              <a:gd name="adj6" fmla="val -110731"/>
            </a:avLst>
          </a:prstGeom>
          <a:solidFill>
            <a:schemeClr val="accent1"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 err="1">
                <a:solidFill>
                  <a:schemeClr val="tx1"/>
                </a:solidFill>
              </a:rPr>
              <a:t>NorthAmerica</a:t>
            </a:r>
            <a:endParaRPr lang="en-US" sz="1400" b="1" u="sng" dirty="0">
              <a:solidFill>
                <a:schemeClr val="tx1"/>
              </a:solidFill>
            </a:endParaRPr>
          </a:p>
          <a:p>
            <a:r>
              <a:rPr lang="en-US" sz="1200" dirty="0">
                <a:solidFill>
                  <a:schemeClr val="tx1"/>
                </a:solidFill>
              </a:rPr>
              <a:t>Bilateral Agreements with various integrated utilitie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6" name="Line Callout 2 (Border and Accent Bar) 15"/>
          <p:cNvSpPr/>
          <p:nvPr/>
        </p:nvSpPr>
        <p:spPr>
          <a:xfrm>
            <a:off x="85010" y="1966338"/>
            <a:ext cx="1541204" cy="699855"/>
          </a:xfrm>
          <a:prstGeom prst="accentBorderCallout2">
            <a:avLst>
              <a:gd name="adj1" fmla="val 31494"/>
              <a:gd name="adj2" fmla="val 108363"/>
              <a:gd name="adj3" fmla="val 33314"/>
              <a:gd name="adj4" fmla="val 122130"/>
              <a:gd name="adj5" fmla="val 154161"/>
              <a:gd name="adj6" fmla="val 125622"/>
            </a:avLst>
          </a:prstGeom>
          <a:solidFill>
            <a:schemeClr val="accent1"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>
                <a:solidFill>
                  <a:schemeClr val="tx1"/>
                </a:solidFill>
              </a:rPr>
              <a:t>CAISO</a:t>
            </a:r>
          </a:p>
          <a:p>
            <a:r>
              <a:rPr lang="en-US" sz="1200" dirty="0" err="1">
                <a:solidFill>
                  <a:schemeClr val="tx1"/>
                </a:solidFill>
              </a:rPr>
              <a:t>Reg</a:t>
            </a:r>
            <a:r>
              <a:rPr lang="en-US" sz="1200" dirty="0">
                <a:solidFill>
                  <a:schemeClr val="tx1"/>
                </a:solidFill>
              </a:rPr>
              <a:t> Up/</a:t>
            </a:r>
            <a:r>
              <a:rPr lang="en-US" sz="1200" dirty="0" err="1">
                <a:solidFill>
                  <a:schemeClr val="tx1"/>
                </a:solidFill>
              </a:rPr>
              <a:t>Reg</a:t>
            </a:r>
            <a:r>
              <a:rPr lang="en-US" sz="1200" dirty="0">
                <a:solidFill>
                  <a:schemeClr val="tx1"/>
                </a:solidFill>
              </a:rPr>
              <a:t> Down</a:t>
            </a:r>
          </a:p>
          <a:p>
            <a:r>
              <a:rPr lang="en-US" sz="1200" dirty="0">
                <a:solidFill>
                  <a:schemeClr val="tx1"/>
                </a:solidFill>
              </a:rPr>
              <a:t>Merchant Market</a:t>
            </a:r>
          </a:p>
        </p:txBody>
      </p:sp>
      <p:sp>
        <p:nvSpPr>
          <p:cNvPr id="19" name="Line Callout 2 (Border and Accent Bar) 18"/>
          <p:cNvSpPr/>
          <p:nvPr/>
        </p:nvSpPr>
        <p:spPr>
          <a:xfrm>
            <a:off x="4041461" y="3332127"/>
            <a:ext cx="1553133" cy="810068"/>
          </a:xfrm>
          <a:prstGeom prst="accentBorderCallout2">
            <a:avLst>
              <a:gd name="adj1" fmla="val 35135"/>
              <a:gd name="adj2" fmla="val 109134"/>
              <a:gd name="adj3" fmla="val 33314"/>
              <a:gd name="adj4" fmla="val 124011"/>
              <a:gd name="adj5" fmla="val -104101"/>
              <a:gd name="adj6" fmla="val 125764"/>
            </a:avLst>
          </a:prstGeom>
          <a:solidFill>
            <a:schemeClr val="accent1">
              <a:lumMod val="75000"/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>
                <a:solidFill>
                  <a:schemeClr val="tx1"/>
                </a:solidFill>
              </a:rPr>
              <a:t>United Kingdom</a:t>
            </a:r>
          </a:p>
          <a:p>
            <a:r>
              <a:rPr lang="en-US" sz="1200" dirty="0">
                <a:solidFill>
                  <a:schemeClr val="tx1"/>
                </a:solidFill>
              </a:rPr>
              <a:t>EFR 201MW</a:t>
            </a:r>
          </a:p>
          <a:p>
            <a:r>
              <a:rPr lang="en-US" sz="1200" dirty="0">
                <a:solidFill>
                  <a:schemeClr val="tx1"/>
                </a:solidFill>
              </a:rPr>
              <a:t>FFR &gt; 1GW</a:t>
            </a:r>
          </a:p>
          <a:p>
            <a:r>
              <a:rPr lang="en-US" sz="1200" dirty="0">
                <a:solidFill>
                  <a:schemeClr val="tx1"/>
                </a:solidFill>
              </a:rPr>
              <a:t>4,2 year contracts</a:t>
            </a:r>
          </a:p>
        </p:txBody>
      </p:sp>
      <p:sp>
        <p:nvSpPr>
          <p:cNvPr id="22" name="Line Callout 2 (Border and Accent Bar) 21"/>
          <p:cNvSpPr/>
          <p:nvPr/>
        </p:nvSpPr>
        <p:spPr>
          <a:xfrm>
            <a:off x="1678599" y="4015151"/>
            <a:ext cx="1374772" cy="814024"/>
          </a:xfrm>
          <a:prstGeom prst="accentBorderCallout2">
            <a:avLst>
              <a:gd name="adj1" fmla="val 31494"/>
              <a:gd name="adj2" fmla="val 108363"/>
              <a:gd name="adj3" fmla="val 33314"/>
              <a:gd name="adj4" fmla="val 122130"/>
              <a:gd name="adj5" fmla="val -150213"/>
              <a:gd name="adj6" fmla="val 141785"/>
            </a:avLst>
          </a:prstGeom>
          <a:solidFill>
            <a:schemeClr val="accent1">
              <a:lumMod val="75000"/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>
                <a:solidFill>
                  <a:schemeClr val="tx1"/>
                </a:solidFill>
              </a:rPr>
              <a:t>PJM</a:t>
            </a:r>
          </a:p>
          <a:p>
            <a:r>
              <a:rPr lang="en-US" sz="1200" dirty="0" err="1">
                <a:solidFill>
                  <a:schemeClr val="tx1"/>
                </a:solidFill>
              </a:rPr>
              <a:t>Reg</a:t>
            </a:r>
            <a:r>
              <a:rPr lang="en-US" sz="1200" dirty="0">
                <a:solidFill>
                  <a:schemeClr val="tx1"/>
                </a:solidFill>
              </a:rPr>
              <a:t> A: &gt;2GW</a:t>
            </a:r>
          </a:p>
          <a:p>
            <a:r>
              <a:rPr lang="en-US" sz="1200" dirty="0" err="1">
                <a:solidFill>
                  <a:schemeClr val="tx1"/>
                </a:solidFill>
              </a:rPr>
              <a:t>Reg</a:t>
            </a:r>
            <a:r>
              <a:rPr lang="en-US" sz="1200" dirty="0">
                <a:solidFill>
                  <a:schemeClr val="tx1"/>
                </a:solidFill>
              </a:rPr>
              <a:t> D: &gt; 250MW</a:t>
            </a:r>
          </a:p>
          <a:p>
            <a:r>
              <a:rPr lang="en-US" sz="1200" dirty="0">
                <a:solidFill>
                  <a:schemeClr val="tx1"/>
                </a:solidFill>
              </a:rPr>
              <a:t>Merchant Market</a:t>
            </a:r>
          </a:p>
        </p:txBody>
      </p:sp>
      <p:sp>
        <p:nvSpPr>
          <p:cNvPr id="24" name="Line Callout 2 (Border and Accent Bar) 23"/>
          <p:cNvSpPr/>
          <p:nvPr/>
        </p:nvSpPr>
        <p:spPr>
          <a:xfrm>
            <a:off x="762003" y="3195924"/>
            <a:ext cx="1374772" cy="646912"/>
          </a:xfrm>
          <a:prstGeom prst="accentBorderCallout2">
            <a:avLst>
              <a:gd name="adj1" fmla="val 31494"/>
              <a:gd name="adj2" fmla="val 108363"/>
              <a:gd name="adj3" fmla="val 33314"/>
              <a:gd name="adj4" fmla="val 122130"/>
              <a:gd name="adj5" fmla="val 4284"/>
              <a:gd name="adj6" fmla="val 136588"/>
            </a:avLst>
          </a:prstGeom>
          <a:solidFill>
            <a:schemeClr val="accent1">
              <a:lumMod val="75000"/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>
                <a:solidFill>
                  <a:schemeClr val="tx1"/>
                </a:solidFill>
              </a:rPr>
              <a:t>ERCOT</a:t>
            </a:r>
          </a:p>
          <a:p>
            <a:r>
              <a:rPr lang="en-US" sz="1200" dirty="0">
                <a:solidFill>
                  <a:schemeClr val="tx1"/>
                </a:solidFill>
              </a:rPr>
              <a:t>REM: 60MW</a:t>
            </a:r>
          </a:p>
          <a:p>
            <a:r>
              <a:rPr lang="en-US" sz="1200" dirty="0">
                <a:solidFill>
                  <a:schemeClr val="tx1"/>
                </a:solidFill>
              </a:rPr>
              <a:t>Demo Market</a:t>
            </a:r>
          </a:p>
        </p:txBody>
      </p:sp>
      <p:sp>
        <p:nvSpPr>
          <p:cNvPr id="26" name="Line Callout 2 (Border and Accent Bar) 25"/>
          <p:cNvSpPr/>
          <p:nvPr/>
        </p:nvSpPr>
        <p:spPr>
          <a:xfrm>
            <a:off x="1124565" y="5257123"/>
            <a:ext cx="1777814" cy="615040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33453"/>
              <a:gd name="adj6" fmla="val -29568"/>
            </a:avLst>
          </a:prstGeom>
          <a:solidFill>
            <a:schemeClr val="accent1"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>
                <a:solidFill>
                  <a:schemeClr val="tx1"/>
                </a:solidFill>
              </a:rPr>
              <a:t>Hawaii</a:t>
            </a:r>
          </a:p>
          <a:p>
            <a:r>
              <a:rPr lang="en-US" sz="1200" dirty="0">
                <a:solidFill>
                  <a:schemeClr val="tx1"/>
                </a:solidFill>
              </a:rPr>
              <a:t>Ramping/Duck Curve</a:t>
            </a:r>
          </a:p>
          <a:p>
            <a:r>
              <a:rPr lang="en-US" sz="1200" dirty="0">
                <a:solidFill>
                  <a:schemeClr val="tx1"/>
                </a:solidFill>
              </a:rPr>
              <a:t>Bilateral Agreements</a:t>
            </a:r>
          </a:p>
        </p:txBody>
      </p:sp>
      <p:sp>
        <p:nvSpPr>
          <p:cNvPr id="27" name="Line Callout 2 (Border and Accent Bar) 26"/>
          <p:cNvSpPr/>
          <p:nvPr/>
        </p:nvSpPr>
        <p:spPr>
          <a:xfrm>
            <a:off x="10602482" y="3050623"/>
            <a:ext cx="1589518" cy="492856"/>
          </a:xfrm>
          <a:prstGeom prst="accentBorderCallout2">
            <a:avLst>
              <a:gd name="adj1" fmla="val 50410"/>
              <a:gd name="adj2" fmla="val -7434"/>
              <a:gd name="adj3" fmla="val 50410"/>
              <a:gd name="adj4" fmla="val -16667"/>
              <a:gd name="adj5" fmla="val 192714"/>
              <a:gd name="adj6" fmla="val -20036"/>
            </a:avLst>
          </a:prstGeom>
          <a:solidFill>
            <a:schemeClr val="accent1"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>
                <a:solidFill>
                  <a:schemeClr val="tx1"/>
                </a:solidFill>
              </a:rPr>
              <a:t>Philippines</a:t>
            </a:r>
          </a:p>
          <a:p>
            <a:r>
              <a:rPr lang="en-US" sz="1200" dirty="0">
                <a:solidFill>
                  <a:schemeClr val="tx1"/>
                </a:solidFill>
              </a:rPr>
              <a:t>Bilateral Agreement</a:t>
            </a:r>
          </a:p>
        </p:txBody>
      </p:sp>
      <p:sp>
        <p:nvSpPr>
          <p:cNvPr id="28" name="Line Callout 2 (Border and Accent Bar) 27"/>
          <p:cNvSpPr/>
          <p:nvPr/>
        </p:nvSpPr>
        <p:spPr>
          <a:xfrm>
            <a:off x="4506960" y="5040047"/>
            <a:ext cx="1456825" cy="615040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91638"/>
              <a:gd name="adj6" fmla="val -56225"/>
            </a:avLst>
          </a:prstGeom>
          <a:solidFill>
            <a:schemeClr val="accent1"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>
                <a:solidFill>
                  <a:schemeClr val="tx1"/>
                </a:solidFill>
              </a:rPr>
              <a:t>Puerto Rico</a:t>
            </a:r>
          </a:p>
          <a:p>
            <a:r>
              <a:rPr lang="en-US" sz="1200" dirty="0">
                <a:solidFill>
                  <a:schemeClr val="tx1"/>
                </a:solidFill>
              </a:rPr>
              <a:t>MTR: RRC -&gt; FR</a:t>
            </a:r>
          </a:p>
          <a:p>
            <a:r>
              <a:rPr lang="en-US" sz="1200" dirty="0">
                <a:solidFill>
                  <a:schemeClr val="tx1"/>
                </a:solidFill>
              </a:rPr>
              <a:t>All solar</a:t>
            </a:r>
          </a:p>
        </p:txBody>
      </p:sp>
      <p:sp>
        <p:nvSpPr>
          <p:cNvPr id="29" name="Line Callout 2 (Border and Accent Bar) 28"/>
          <p:cNvSpPr/>
          <p:nvPr/>
        </p:nvSpPr>
        <p:spPr>
          <a:xfrm>
            <a:off x="8555733" y="6026179"/>
            <a:ext cx="1135267" cy="614545"/>
          </a:xfrm>
          <a:prstGeom prst="accentBorderCallout2">
            <a:avLst>
              <a:gd name="adj1" fmla="val 53292"/>
              <a:gd name="adj2" fmla="val 108363"/>
              <a:gd name="adj3" fmla="val 52690"/>
              <a:gd name="adj4" fmla="val 123145"/>
              <a:gd name="adj5" fmla="val -60239"/>
              <a:gd name="adj6" fmla="val 213096"/>
            </a:avLst>
          </a:prstGeom>
          <a:solidFill>
            <a:schemeClr val="accent1">
              <a:lumMod val="75000"/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>
                <a:solidFill>
                  <a:schemeClr val="tx1"/>
                </a:solidFill>
              </a:rPr>
              <a:t>Australia</a:t>
            </a:r>
          </a:p>
          <a:p>
            <a:r>
              <a:rPr lang="en-US" sz="1200" dirty="0">
                <a:solidFill>
                  <a:schemeClr val="tx1"/>
                </a:solidFill>
              </a:rPr>
              <a:t>FCAS: &gt;1GW</a:t>
            </a:r>
          </a:p>
          <a:p>
            <a:r>
              <a:rPr lang="en-US" sz="1200" dirty="0">
                <a:solidFill>
                  <a:schemeClr val="tx1"/>
                </a:solidFill>
              </a:rPr>
              <a:t>Merchant</a:t>
            </a:r>
          </a:p>
        </p:txBody>
      </p:sp>
      <p:sp>
        <p:nvSpPr>
          <p:cNvPr id="30" name="Line Callout 2 (Border and Accent Bar) 29"/>
          <p:cNvSpPr/>
          <p:nvPr/>
        </p:nvSpPr>
        <p:spPr>
          <a:xfrm>
            <a:off x="9123365" y="4591965"/>
            <a:ext cx="1563327" cy="448082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150809"/>
              <a:gd name="adj6" fmla="val -25864"/>
            </a:avLst>
          </a:prstGeom>
          <a:solidFill>
            <a:schemeClr val="accent1"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>
                <a:solidFill>
                  <a:schemeClr val="tx1"/>
                </a:solidFill>
              </a:rPr>
              <a:t>India</a:t>
            </a:r>
          </a:p>
          <a:p>
            <a:r>
              <a:rPr lang="en-US" sz="1200" dirty="0">
                <a:solidFill>
                  <a:schemeClr val="tx1"/>
                </a:solidFill>
              </a:rPr>
              <a:t>Bilateral Agreement</a:t>
            </a:r>
          </a:p>
        </p:txBody>
      </p:sp>
      <p:sp>
        <p:nvSpPr>
          <p:cNvPr id="31" name="Line Callout 2 (Border and Accent Bar) 30"/>
          <p:cNvSpPr/>
          <p:nvPr/>
        </p:nvSpPr>
        <p:spPr>
          <a:xfrm>
            <a:off x="6972300" y="2944881"/>
            <a:ext cx="1616152" cy="435108"/>
          </a:xfrm>
          <a:prstGeom prst="accentBorderCallout2">
            <a:avLst>
              <a:gd name="adj1" fmla="val 31494"/>
              <a:gd name="adj2" fmla="val 108363"/>
              <a:gd name="adj3" fmla="val 33314"/>
              <a:gd name="adj4" fmla="val 122130"/>
              <a:gd name="adj5" fmla="val 212402"/>
              <a:gd name="adj6" fmla="val 154162"/>
            </a:avLst>
          </a:prstGeom>
          <a:solidFill>
            <a:schemeClr val="accent1">
              <a:lumMod val="75000"/>
              <a:alpha val="24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>
                <a:solidFill>
                  <a:schemeClr val="tx1"/>
                </a:solidFill>
              </a:rPr>
              <a:t>Thailand</a:t>
            </a:r>
          </a:p>
          <a:p>
            <a:r>
              <a:rPr lang="en-US" sz="1200" dirty="0">
                <a:solidFill>
                  <a:schemeClr val="tx1"/>
                </a:solidFill>
              </a:rPr>
              <a:t>Bilateral Agreement</a:t>
            </a:r>
          </a:p>
        </p:txBody>
      </p:sp>
    </p:spTree>
    <p:extLst>
      <p:ext uri="{BB962C8B-B14F-4D97-AF65-F5344CB8AC3E}">
        <p14:creationId xmlns:p14="http://schemas.microsoft.com/office/powerpoint/2010/main" val="2702440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-3600" y="-14372"/>
            <a:ext cx="2485992" cy="433553"/>
          </a:xfrm>
        </p:spPr>
        <p:txBody>
          <a:bodyPr/>
          <a:lstStyle/>
          <a:p>
            <a:r>
              <a:rPr lang="en-US" dirty="0"/>
              <a:t>Markets Overview</a:t>
            </a: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1390078" y="1482376"/>
            <a:ext cx="9218645" cy="4657773"/>
            <a:chOff x="677863" y="1565941"/>
            <a:chExt cx="7500937" cy="4260850"/>
          </a:xfrm>
          <a:solidFill>
            <a:schemeClr val="accent6">
              <a:alpha val="25000"/>
            </a:schemeClr>
          </a:solidFill>
        </p:grpSpPr>
        <p:sp>
          <p:nvSpPr>
            <p:cNvPr id="6" name="Freeform 5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5763291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1864391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480341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8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4031329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594891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3877341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2823241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Freeform 12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2697829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Freeform 13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2183479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" name="Freeform 14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2486691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" name="Freeform 15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2335879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16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1877091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17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2294604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18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2551779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2720054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21" name="Group 20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3780504"/>
              <a:ext cx="473075" cy="212725"/>
              <a:chOff x="4488" y="2394"/>
              <a:chExt cx="358" cy="124"/>
            </a:xfrm>
            <a:grpFill/>
          </p:grpSpPr>
          <p:sp>
            <p:nvSpPr>
              <p:cNvPr id="551" name="Freeform 55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52" name="Freeform 55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2" name="Freeform 21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656429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" name="Freeform 22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643854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" name="Freeform 23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382041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" name="Freeform 24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769641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691479"/>
              <a:ext cx="3175" cy="952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" name="Freeform 26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688304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27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742279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28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737516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29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2294604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0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597816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31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601116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466179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33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2470816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" name="Freeform 34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3191541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35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3196304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" name="Freeform 36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3856704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38" name="Group 37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664866"/>
              <a:ext cx="65087" cy="55563"/>
              <a:chOff x="1654" y="3671"/>
              <a:chExt cx="49" cy="17"/>
            </a:xfrm>
            <a:grpFill/>
          </p:grpSpPr>
          <p:sp>
            <p:nvSpPr>
              <p:cNvPr id="549" name="Freeform 548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50" name="Freeform 549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9" name="Freeform 38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459829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0" name="Freeform 39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466179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1" name="Freeform 40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467766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2" name="Freeform 41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458241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42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450304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4" name="Freeform 43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478879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5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475704"/>
              <a:ext cx="6350" cy="952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6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501104"/>
              <a:ext cx="6350" cy="1111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7" name="Freeform 46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496341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8" name="Freeform 47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524916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49" name="Freeform 48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572541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0" name="Freeform 49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597941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1" name="Freeform 50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628104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2" name="Freeform 51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640804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3" name="Freeform 52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3705891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4" name="Freeform 53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682079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5" name="Freeform 54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3353466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56" name="Group 55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3186779"/>
              <a:ext cx="131763" cy="195262"/>
              <a:chOff x="1199" y="2121"/>
              <a:chExt cx="97" cy="123"/>
            </a:xfrm>
            <a:grpFill/>
          </p:grpSpPr>
          <p:sp>
            <p:nvSpPr>
              <p:cNvPr id="539" name="Freeform 538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40" name="Freeform 539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41" name="Freeform 540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42" name="Freeform 541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43" name="Freeform 542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44" name="Freeform 543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45" name="Freeform 544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46" name="Freeform 545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47" name="Freeform 546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48" name="Freeform 547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7" name="Freeform 56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613941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8" name="Freeform 57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4704429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9" name="Freeform 58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613941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0" name="Freeform 59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586954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61" name="Group 60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5107654"/>
              <a:ext cx="458787" cy="404812"/>
              <a:chOff x="5372" y="3323"/>
              <a:chExt cx="341" cy="253"/>
            </a:xfrm>
            <a:grpFill/>
          </p:grpSpPr>
          <p:sp>
            <p:nvSpPr>
              <p:cNvPr id="536" name="Freeform 535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37" name="Freeform 536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38" name="Freeform 537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2" name="Freeform 61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3764629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3" name="Freeform 62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666329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4" name="Freeform 63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675854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5" name="Freeform 64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3753516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6" name="Freeform 65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3697954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7" name="Freeform 66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586829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8" name="Freeform 67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4285329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69" name="Freeform 68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4299616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0" name="Freeform 69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4075779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1" name="Freeform 70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4050379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2" name="Freeform 71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382166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3" name="Freeform 72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371054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4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4356766"/>
              <a:ext cx="20637" cy="635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5" name="Freeform 74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4363116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6" name="Freeform 75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4356766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7" name="Freeform 76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4337716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8" name="Freeform 77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4064666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79" name="Group 78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3736054"/>
              <a:ext cx="163512" cy="114300"/>
              <a:chOff x="5379" y="2466"/>
              <a:chExt cx="122" cy="71"/>
            </a:xfrm>
            <a:grpFill/>
          </p:grpSpPr>
          <p:sp>
            <p:nvSpPr>
              <p:cNvPr id="527" name="Freeform 526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28" name="Freeform 527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29" name="Freeform 528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30" name="Freeform 529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31" name="Freeform 530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32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33" name="Freeform 532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34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35" name="Freeform 534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0" name="Freeform 79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597941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1" name="Freeform 80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5737891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2" name="Freeform 81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575966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3" name="Freeform 82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2346991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4" name="Freeform 83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380329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5" name="Freeform 84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610516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85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3172491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7" name="Freeform 86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3107404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8" name="Freeform 87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2956591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9" name="Freeform 88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2083466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0" name="Freeform 89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1851691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1" name="Freeform 90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629691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2" name="Freeform 91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491579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93" name="Group 92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678904"/>
              <a:ext cx="46037" cy="374650"/>
              <a:chOff x="3950" y="2430"/>
              <a:chExt cx="36" cy="234"/>
            </a:xfrm>
            <a:grpFill/>
          </p:grpSpPr>
          <p:sp>
            <p:nvSpPr>
              <p:cNvPr id="496" name="Freeform 495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97" name="Freeform 496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98" name="Freeform 497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99" name="Rectangle 498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0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1" name="Freeform 500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2" name="Freeform 501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3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4" name="Freeform 503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5" name="Freeform 504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6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7" name="Freeform 506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8" name="Freeform 507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09" name="Freeform 508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0" name="Freeform 509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1" name="Freeform 510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2" name="Freeform 511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3" name="Freeform 512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4" name="Rectangle 513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grpFill/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5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6" name="Freeform 515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7" name="Freeform 516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8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19" name="Freeform 518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20" name="Freeform 519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21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22" name="Freeform 521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23" name="Freeform 522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24" name="Freeform 523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25" name="Freeform 524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526" name="Freeform 525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94" name="Group 93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4178966"/>
              <a:ext cx="185738" cy="214313"/>
              <a:chOff x="5486" y="2743"/>
              <a:chExt cx="137" cy="132"/>
            </a:xfrm>
            <a:grpFill/>
          </p:grpSpPr>
          <p:sp>
            <p:nvSpPr>
              <p:cNvPr id="487" name="Freeform 486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88" name="Freeform 487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89" name="Freeform 488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90" name="Freeform 489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91" name="Freeform 490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92" name="Freeform 491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93" name="Freeform 492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94" name="Freeform 493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95" name="Freeform 494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95" name="Freeform 94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3917029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6" name="Freeform 95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4056729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7" name="Freeform 96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383504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8" name="Freeform 97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4350416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9" name="Freeform 98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3780504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100" name="Group 99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615404"/>
              <a:ext cx="323850" cy="401637"/>
              <a:chOff x="1486" y="2412"/>
              <a:chExt cx="244" cy="256"/>
            </a:xfrm>
            <a:grpFill/>
          </p:grpSpPr>
          <p:sp>
            <p:nvSpPr>
              <p:cNvPr id="483" name="Freeform 482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84" name="Freeform 483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85" name="Freeform 484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86" name="Freeform 485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01" name="Freeform 100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5155279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2" name="Freeform 101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5288629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3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5287041"/>
              <a:ext cx="1587" cy="1270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4" name="Freeform 103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5287041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5" name="Freeform 104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4756816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6" name="Freeform 105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683791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7" name="Freeform 106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659979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8" name="Freeform 107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537741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9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504404"/>
              <a:ext cx="6350" cy="33337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0" name="Freeform 109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488529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1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475829"/>
              <a:ext cx="0" cy="1270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2" name="Freeform 111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409154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3" name="Freeform 112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4352004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4" name="Freeform 113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4345654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5" name="Freeform 114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4326604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6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4345654"/>
              <a:ext cx="1587" cy="3175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7" name="Freeform 116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4329779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8" name="Freeform 117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5318791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9" name="Freeform 118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537741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0" name="Freeform 119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459954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1" name="Freeform 120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372641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2" name="Freeform 121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375816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3" name="Freeform 122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4839366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4" name="Freeform 123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4345654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5" name="Freeform 124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3012154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6" name="Freeform 125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652041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7" name="Freeform 126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3856704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8" name="Freeform 127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3415379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29" name="Freeform 128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5769641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0" name="Freeform 129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5749004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1" name="Freeform 130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728366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2" name="Freeform 131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5722016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3" name="Freeform 132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5712491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4" name="Freeform 133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5699791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5" name="Freeform 134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680741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6" name="Freeform 135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371179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7" name="Freeform 136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466429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8" name="Freeform 137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488654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9" name="Freeform 138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550566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0" name="Freeform 139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563266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1" name="Freeform 140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596604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2" name="Freeform 141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629941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3" name="Freeform 142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644229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4" name="Freeform 143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672804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5" name="Freeform 144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5742654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" name="Freeform 145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683916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7" name="Freeform 146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450304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8" name="Freeform 147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3312191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9" name="Freeform 148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3415379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0" name="Freeform 149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475704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1" name="Freeform 150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475704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2" name="Freeform 151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586829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3" name="Freeform 152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548729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4" name="Freeform 153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578891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5" name="Freeform 154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691604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6" name="Freeform 155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3745579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7" name="Freeform 156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4999704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8" name="Freeform 157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616741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59" name="Freeform 158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1846929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0" name="Freeform 159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688304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1" name="Freeform 160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1313" y="2527966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2" name="Freeform 161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2346991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3" name="Freeform 162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70350" y="2410491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4" name="Freeform 163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0763" y="2964529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5" name="Freeform 164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3016916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6" name="Freeform 165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1425" y="2270791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7" name="Freeform 166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3182016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8" name="Freeform 167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3242341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69" name="Freeform 168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2848641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0" name="Freeform 169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2983579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1" name="Freeform 170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350" y="2848641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2" name="Freeform 171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9813" y="3159791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3" name="Freeform 172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1967579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4" name="Freeform 173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2231104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5" name="Freeform 174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1894554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6" name="Freeform 175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2208879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7" name="Freeform 176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10000" y="2370804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8" name="Freeform 177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2899441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9" name="Freeform 178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3691604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0" name="Freeform 179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3859879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1" name="Freeform 180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3959891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2" name="Freeform 181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3959891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3" name="Freeform 182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4364704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4" name="Freeform 183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4604416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5" name="Freeform 184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7300" y="4405979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6" name="Freeform 185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4104354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7" name="Freeform 186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4064666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8" name="Freeform 187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2764504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9" name="Freeform 188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3421729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0" name="Freeform 189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975" y="3196304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1" name="Freeform 190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2848641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2" name="Freeform 191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2808954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3" name="Freeform 192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2858166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4" name="Freeform 193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3126454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5" name="Freeform 194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3636041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6" name="Freeform 195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3718591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7" name="Freeform 196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3769391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8" name="Freeform 197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3688429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9" name="Freeform 198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3604291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0" name="Freeform 199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3682079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1" name="Freeform 200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3643979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2" name="Freeform 201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4848891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3" name="Freeform 202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4945729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4" name="Freeform 203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2659729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5" name="Freeform 204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3074066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6" name="Freeform 205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3129629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7" name="Freeform 206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3201066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8" name="Freeform 207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413" y="3316954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9" name="Freeform 208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7963" y="3567779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0" name="Freeform 209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00" y="2804191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1" name="Freeform 210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4101179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2" name="Freeform 211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4085304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3" name="Freeform 212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3718591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214" name="Group 213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3429666"/>
              <a:ext cx="233362" cy="439738"/>
              <a:chOff x="5062" y="2295"/>
              <a:chExt cx="177" cy="279"/>
            </a:xfrm>
            <a:grpFill/>
          </p:grpSpPr>
          <p:sp>
            <p:nvSpPr>
              <p:cNvPr id="459" name="Freeform 458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0" name="Freeform 459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1" name="Freeform 460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2" name="Freeform 461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3" name="Freeform 462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4" name="Freeform 463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5" name="Freeform 464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6" name="Freeform 465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7" name="Freeform 466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8" name="Freeform 467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69" name="Freeform 468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0" name="Freeform 469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1" name="Freeform 470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2" name="Freeform 471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3" name="Freeform 472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4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5" name="Freeform 474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6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7" name="Freeform 476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8" name="Freeform 477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79" name="Freeform 478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80" name="Freeform 479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81" name="Freeform 480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82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15" name="Freeform 214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4248816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6" name="Freeform 215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4188491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7" name="Freeform 216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4067841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8" name="Freeform 217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4037679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9" name="Freeform 218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3934491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0" name="Freeform 219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4069429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1" name="Freeform 220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4255166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2" name="Freeform 221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4074191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3" name="Freeform 222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4069429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4" name="Freeform 223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4117054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5" name="Freeform 224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4320254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6" name="Freeform 225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4358354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7" name="Freeform 226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4290091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8" name="Freeform 227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4275804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9" name="Freeform 228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4285329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0" name="Freeform 229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4290091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1" name="Freeform 230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4282154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2" name="Freeform 231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4096416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3" name="Freeform 232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4069429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4" name="Freeform 233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4053554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5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4090066"/>
              <a:ext cx="4763" cy="635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6" name="Freeform 235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4090066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7" name="Freeform 236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3934491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8" name="Freeform 237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4298029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39" name="Freeform 238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4255166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0" name="Freeform 239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3837654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1" name="Freeform 240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4650" y="3886866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2" name="Freeform 241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4293266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3" name="Freeform 242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3959891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4" name="Freeform 243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4104354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5" name="Freeform 244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4028154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6" name="Freeform 245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3966241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7" name="Freeform 246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4207541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8" name="Freeform 247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4064666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49" name="Freeform 248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2896266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0" name="Freeform 249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475" y="2300954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1" name="Freeform 250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1975" y="2505741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2" name="Freeform 251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2161254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3" name="Freeform 252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688" y="2508916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4" name="Freeform 253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3547141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5" name="Freeform 254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2500979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6" name="Freeform 255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2383504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7" name="Freeform 256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2726404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8" name="Freeform 257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2740691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59" name="Freeform 258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2669254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0" name="Freeform 259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2685129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1" name="Freeform 260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2572416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2" name="Freeform 261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2680366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3" name="Freeform 262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3304254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4" name="Freeform 263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3643979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5" name="Freeform 264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3631279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6" name="Freeform 265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225" y="3542379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7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4061491"/>
              <a:ext cx="4763" cy="793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8" name="Freeform 267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4069429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69" name="Freeform 268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4056729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270" name="Group 269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3991641"/>
              <a:ext cx="417513" cy="201613"/>
              <a:chOff x="912" y="2626"/>
              <a:chExt cx="311" cy="127"/>
            </a:xfrm>
            <a:grpFill/>
          </p:grpSpPr>
          <p:sp>
            <p:nvSpPr>
              <p:cNvPr id="456" name="Freeform 455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7" name="Freeform 456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8" name="Freeform 457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71" name="Freeform 270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225" y="4709191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2" name="Freeform 271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4736179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273" name="Group 272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4228179"/>
              <a:ext cx="168275" cy="103187"/>
              <a:chOff x="3481" y="2773"/>
              <a:chExt cx="125" cy="65"/>
            </a:xfrm>
            <a:grpFill/>
          </p:grpSpPr>
          <p:sp>
            <p:nvSpPr>
              <p:cNvPr id="445" name="Freeform 444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6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7" name="Freeform 446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8" name="Freeform 447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9" name="Freeform 448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0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1" name="Freeform 450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2" name="Freeform 451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3" name="Freeform 452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4" name="Freeform 453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55" name="Freeform 454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74" name="Freeform 273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4220241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5" name="Freeform 274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4193254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76" name="Freeform 275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075" y="4736179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278" name="Group 277"/>
            <p:cNvGrpSpPr>
              <a:grpSpLocks/>
            </p:cNvGrpSpPr>
            <p:nvPr>
              <p:custDataLst>
                <p:tags r:id="rId272"/>
              </p:custDataLst>
            </p:nvPr>
          </p:nvGrpSpPr>
          <p:grpSpPr bwMode="auto">
            <a:xfrm>
              <a:off x="3341688" y="3505866"/>
              <a:ext cx="80962" cy="82550"/>
              <a:chOff x="2352" y="2343"/>
              <a:chExt cx="65" cy="53"/>
            </a:xfrm>
            <a:grpFill/>
          </p:grpSpPr>
          <p:sp>
            <p:nvSpPr>
              <p:cNvPr id="439" name="Freeform 438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0" name="Freeform 439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1" name="Freeform 440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2" name="Freeform 441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3" name="Freeform 442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44" name="Freeform 443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279" name="Group 278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1187450" y="1565941"/>
              <a:ext cx="1897063" cy="1133475"/>
              <a:chOff x="527" y="1110"/>
              <a:chExt cx="1410" cy="709"/>
            </a:xfrm>
            <a:grpFill/>
          </p:grpSpPr>
          <p:sp>
            <p:nvSpPr>
              <p:cNvPr id="397" name="Freeform 396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8" name="Freeform 397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9" name="Freeform 398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0" name="Freeform 399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1" name="Freeform 400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2" name="Freeform 401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3" name="Freeform 402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4" name="Freeform 403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5" name="Freeform 404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6" name="Freeform 405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7" name="Freeform 406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8" name="Freeform 407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09" name="Freeform 408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0" name="Freeform 409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1" name="Freeform 410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2" name="Freeform 411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3" name="Freeform 412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4" name="Freeform 413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5" name="Freeform 414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6" name="Freeform 415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7" name="Freeform 416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8" name="Freeform 417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19" name="Freeform 418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0" name="Freeform 419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1" name="Freeform 420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2" name="Freeform 421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3" name="Freeform 422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4" name="Freeform 423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5" name="Freeform 424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6" name="Freeform 425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7" name="Freeform 426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8" name="Freeform 427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29" name="Freeform 428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0" name="Freeform 429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1" name="Freeform 430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2" name="Freeform 431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3" name="Freeform 432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4" name="Freeform 433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5" name="Freeform 434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6" name="Freeform 435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7" name="Freeform 436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438" name="Freeform 437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80" name="Freeform 279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4757738" y="3910679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1" name="Freeform 280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864100" y="4061491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2" name="Freeform 281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354513" y="3297904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3" name="Freeform 282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030663" y="2680366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284" name="Group 283"/>
            <p:cNvGrpSpPr>
              <a:grpSpLocks/>
            </p:cNvGrpSpPr>
            <p:nvPr>
              <p:custDataLst>
                <p:tags r:id="rId278"/>
              </p:custDataLst>
            </p:nvPr>
          </p:nvGrpSpPr>
          <p:grpSpPr bwMode="auto">
            <a:xfrm>
              <a:off x="2330450" y="4740941"/>
              <a:ext cx="384175" cy="1031875"/>
              <a:chOff x="1589" y="3126"/>
              <a:chExt cx="290" cy="657"/>
            </a:xfrm>
            <a:grpFill/>
          </p:grpSpPr>
          <p:sp>
            <p:nvSpPr>
              <p:cNvPr id="394" name="Freeform 393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5" name="Freeform 394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6" name="Freeform 395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85" name="Freeform 284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5040313" y="2693066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6" name="Freeform 285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506913" y="2266029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7" name="Freeform 286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364038" y="2597816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8" name="Freeform 287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2728913" y="4034504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9" name="Freeform 288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522788" y="2632741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0" name="Freeform 289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3878263" y="3559841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1" name="Freeform 290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4225925" y="3628104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2" name="Freeform 291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6677025" y="3386804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3" name="Freeform 292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2032000" y="3650329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4" name="Freeform 293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4284663" y="3918616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5" name="Freeform 294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316413" y="2561304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6" name="Freeform 295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267200" y="2420016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7" name="Freeform 296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30688" y="2275554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8" name="Freeform 297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02113" y="2280316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9" name="Freeform 298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171950" y="2226341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0" name="Freeform 299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603750" y="3031204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1" name="Freeform 300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198938" y="2666079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2" name="Freeform 301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3892367" y="2416840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3" name="Freeform 302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4919663" y="2651791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4" name="Freeform 303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468813" y="2712116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5" name="Freeform 304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552950" y="2904204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6" name="Freeform 305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3632200" y="3636041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7" name="Freeform 306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676900" y="2899441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8" name="Freeform 307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3798888" y="3694779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9" name="Freeform 308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4867275" y="3890041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0" name="Freeform 309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49813" y="2975641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1" name="Freeform 310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5148263" y="3078829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2" name="Freeform 311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435475" y="2213641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3" name="Freeform 312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846638" y="2934366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4" name="Freeform 313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662488" y="4945729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5" name="Freeform 314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433888" y="2261266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6" name="Freeform 315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140200" y="2447004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7" name="Freeform 316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837113" y="4331366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8" name="Freeform 317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329113" y="2902616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9" name="Freeform 318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648200" y="4523454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0" name="Freeform 319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560888" y="4299616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1" name="Freeform 320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297363" y="4572666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2" name="Freeform 321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3576638" y="3502691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3" name="Freeform 322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4749800" y="4064666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4" name="Freeform 323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7313613" y="2578766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5" name="Freeform 324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172325" y="2580354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6" name="Freeform 325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42163" y="2934366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7" name="Freeform 326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088188" y="2948654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8" name="Freeform 327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104063" y="2631154"/>
              <a:ext cx="187325" cy="323850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29" name="Freeform 328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4687888" y="1600866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0" name="Freeform 329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830763" y="1583404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1" name="Freeform 330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67275" y="1591341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2" name="Freeform 331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5400675" y="1777079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3" name="Freeform 332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310188" y="1635791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4" name="Freeform 333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32413" y="1594516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5" name="Freeform 334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476875" y="1710404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6" name="Freeform 335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530850" y="1594516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7" name="Freeform 336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91175" y="1619916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8" name="Freeform 337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708650" y="1634204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39" name="Freeform 338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6235700" y="1759616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0" name="Freeform 339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302375" y="1777079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1" name="Freeform 340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32538" y="1788191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2" name="Freeform 341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103938" y="1761204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3" name="Freeform 342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403975" y="1702466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4" name="Freeform 343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564313" y="1710404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5" name="Freeform 344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24625" y="1758029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6" name="Freeform 345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03988" y="1754854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7" name="Line 504"/>
            <p:cNvSpPr>
              <a:spLocks noChangeShapeType="1"/>
            </p:cNvSpPr>
            <p:nvPr>
              <p:custDataLst>
                <p:tags r:id="rId341"/>
              </p:custDataLst>
            </p:nvPr>
          </p:nvSpPr>
          <p:spPr bwMode="auto">
            <a:xfrm flipV="1">
              <a:off x="6505575" y="1753266"/>
              <a:ext cx="0" cy="1588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8" name="Freeform 347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5675313" y="1681829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49" name="Freeform 348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6424613" y="1753266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0" name="Freeform 349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378575" y="1716754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1" name="Freeform 350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878638" y="2286666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2" name="Freeform 351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7172325" y="1808829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3" name="Freeform 352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308850" y="2161254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4" name="Freeform 353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458075" y="2273966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5" name="Freeform 354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508875" y="2289841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6" name="Freeform 355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373938" y="2416841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7" name="Freeform 356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85050" y="2445416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8" name="Freeform 357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72350" y="2527966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59" name="Freeform 358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50125" y="2562891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0" name="Freeform 359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2562891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1" name="Freeform 360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104063" y="2150141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2" name="Freeform 361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4419600" y="2289841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3" name="Freeform 362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868863" y="1881854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4" name="Freeform 363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903788" y="1694529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5" name="Freeform 364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695825" y="2005679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6" name="Freeform 365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7000875" y="2302541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367" name="Group 366"/>
            <p:cNvGrpSpPr>
              <a:grpSpLocks/>
            </p:cNvGrpSpPr>
            <p:nvPr>
              <p:custDataLst>
                <p:tags r:id="rId361"/>
              </p:custDataLst>
            </p:nvPr>
          </p:nvGrpSpPr>
          <p:grpSpPr bwMode="auto">
            <a:xfrm>
              <a:off x="5791200" y="2258091"/>
              <a:ext cx="671513" cy="384175"/>
              <a:chOff x="4115" y="1551"/>
              <a:chExt cx="504" cy="244"/>
            </a:xfrm>
            <a:grpFill/>
          </p:grpSpPr>
          <p:sp>
            <p:nvSpPr>
              <p:cNvPr id="392" name="Freeform 391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3" name="Freeform 392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68" name="Freeform 367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4848225" y="3007391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69" name="Freeform 368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322763" y="2551779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0" name="Freeform 369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062413" y="2764504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1" name="Freeform 370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3654425" y="3110579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2" name="Freeform 371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595688" y="3126454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3" name="Freeform 372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70288" y="3120104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4" name="Freeform 373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4841875" y="2848641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5" name="Freeform 374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935788" y="3229641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376" name="Group 375"/>
            <p:cNvGrpSpPr>
              <a:grpSpLocks/>
            </p:cNvGrpSpPr>
            <p:nvPr>
              <p:custDataLst>
                <p:tags r:id="rId370"/>
              </p:custDataLst>
            </p:nvPr>
          </p:nvGrpSpPr>
          <p:grpSpPr bwMode="auto">
            <a:xfrm>
              <a:off x="4583113" y="2697829"/>
              <a:ext cx="482600" cy="201612"/>
              <a:chOff x="3289" y="1830"/>
              <a:chExt cx="363" cy="128"/>
            </a:xfrm>
            <a:grpFill/>
          </p:grpSpPr>
          <p:sp>
            <p:nvSpPr>
              <p:cNvPr id="387" name="Freeform 38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8" name="Freeform 38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9" name="Freeform 38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0" name="Freeform 38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1" name="Freeform 39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77" name="Freeform 376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2571750" y="3850354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8" name="Freeform 377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6516688" y="3286791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79" name="Freeform 378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604000" y="3972591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0" name="Freeform 379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5295900" y="3231229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1" name="Freeform 380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4022725" y="3285204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2" name="Freeform 381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3692525" y="2902616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3" name="Freeform 382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4392613" y="1832641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4" name="Freeform 383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903788" y="1816766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5" name="Freeform 384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5046663" y="1799304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86" name="Freeform 385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83175" y="1807241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554" name="Title 55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Markets by Region</a:t>
            </a:r>
          </a:p>
        </p:txBody>
      </p:sp>
      <p:sp>
        <p:nvSpPr>
          <p:cNvPr id="556" name="TextBox 555"/>
          <p:cNvSpPr txBox="1"/>
          <p:nvPr/>
        </p:nvSpPr>
        <p:spPr>
          <a:xfrm>
            <a:off x="4452335" y="1694284"/>
            <a:ext cx="3985699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>
              <a:solidFill>
                <a:prstClr val="black"/>
              </a:solidFill>
            </a:endParaRPr>
          </a:p>
          <a:p>
            <a:pPr marL="109538" lvl="1"/>
            <a:r>
              <a:rPr lang="en-US" b="1" dirty="0">
                <a:solidFill>
                  <a:prstClr val="white">
                    <a:lumMod val="65000"/>
                  </a:prstClr>
                </a:solidFill>
              </a:rPr>
              <a:t>UK</a:t>
            </a:r>
          </a:p>
          <a:p>
            <a:pPr marL="395288" lvl="2" indent="-285750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Continued EFR/FFR &amp; capacity deployments</a:t>
            </a:r>
          </a:p>
          <a:p>
            <a:pPr marL="109538" lvl="1"/>
            <a:r>
              <a:rPr lang="en-US" b="1" dirty="0">
                <a:solidFill>
                  <a:prstClr val="white">
                    <a:lumMod val="65000"/>
                  </a:prstClr>
                </a:solidFill>
              </a:rPr>
              <a:t>Germany</a:t>
            </a:r>
          </a:p>
          <a:p>
            <a:pPr marL="404813" lvl="2" indent="-295275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German market led by solar self-consumption -&gt; not our strength</a:t>
            </a:r>
          </a:p>
          <a:p>
            <a:pPr marL="404813" lvl="2" indent="-295275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PCR market has low prices</a:t>
            </a:r>
          </a:p>
          <a:p>
            <a:pPr marL="109538" lvl="1"/>
            <a:r>
              <a:rPr lang="en-US" b="1" dirty="0">
                <a:solidFill>
                  <a:prstClr val="white">
                    <a:lumMod val="65000"/>
                  </a:prstClr>
                </a:solidFill>
              </a:rPr>
              <a:t>France</a:t>
            </a:r>
          </a:p>
          <a:p>
            <a:pPr marL="404813" lvl="2" indent="-295275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Island tenders</a:t>
            </a:r>
          </a:p>
          <a:p>
            <a:pPr marL="109538" lvl="1"/>
            <a:r>
              <a:rPr lang="en-US" b="1" dirty="0">
                <a:solidFill>
                  <a:srgbClr val="CCCCCC">
                    <a:lumMod val="90000"/>
                  </a:srgbClr>
                </a:solidFill>
              </a:rPr>
              <a:t>Middle East</a:t>
            </a:r>
          </a:p>
          <a:p>
            <a:pPr marL="404813" lvl="2" indent="-295275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srgbClr val="CCCCCC">
                    <a:lumMod val="90000"/>
                  </a:srgbClr>
                </a:solidFill>
              </a:rPr>
              <a:t>Solar + storage applications</a:t>
            </a:r>
          </a:p>
          <a:p>
            <a:pPr marL="109538" lvl="1"/>
            <a:r>
              <a:rPr lang="en-US" b="1" dirty="0">
                <a:solidFill>
                  <a:prstClr val="white">
                    <a:lumMod val="65000"/>
                  </a:prstClr>
                </a:solidFill>
              </a:rPr>
              <a:t>Africa</a:t>
            </a:r>
          </a:p>
          <a:p>
            <a:pPr marL="404813" lvl="2" indent="-295275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Mining/Off-grid hybrid engine opportunities</a:t>
            </a:r>
          </a:p>
          <a:p>
            <a:pPr marL="404813" lvl="2" indent="-295275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Solar + storage applications</a:t>
            </a:r>
          </a:p>
          <a:p>
            <a:endParaRPr lang="en-US" sz="2000" dirty="0" err="1">
              <a:solidFill>
                <a:srgbClr val="4D4D4D"/>
              </a:solidFill>
            </a:endParaRPr>
          </a:p>
        </p:txBody>
      </p:sp>
      <p:sp>
        <p:nvSpPr>
          <p:cNvPr id="557" name="TextBox 556"/>
          <p:cNvSpPr txBox="1"/>
          <p:nvPr/>
        </p:nvSpPr>
        <p:spPr>
          <a:xfrm>
            <a:off x="782300" y="1982025"/>
            <a:ext cx="3527709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US" b="1" dirty="0">
                <a:solidFill>
                  <a:prstClr val="white">
                    <a:lumMod val="65000"/>
                  </a:prstClr>
                </a:solidFill>
              </a:rPr>
              <a:t>USA</a:t>
            </a:r>
          </a:p>
          <a:p>
            <a:pPr marL="285750" lvl="2" indent="-285750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Vertically integrated utilities including storage in procurement plans for FR and T&amp;D deferral</a:t>
            </a:r>
          </a:p>
          <a:p>
            <a:pPr marL="0" lvl="1"/>
            <a:r>
              <a:rPr lang="en-US" b="1" dirty="0">
                <a:solidFill>
                  <a:prstClr val="white">
                    <a:lumMod val="65000"/>
                  </a:prstClr>
                </a:solidFill>
              </a:rPr>
              <a:t>Caribbean Islands</a:t>
            </a:r>
          </a:p>
          <a:p>
            <a:pPr marL="285750" lvl="2" indent="-285750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Mining/Off-grid hybrid engine opportunities</a:t>
            </a:r>
          </a:p>
          <a:p>
            <a:pPr marL="285750" lvl="2" indent="-285750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Solar + storage applications</a:t>
            </a:r>
          </a:p>
          <a:p>
            <a:pPr marL="0" lvl="1"/>
            <a:r>
              <a:rPr lang="en-US" b="1" dirty="0">
                <a:solidFill>
                  <a:prstClr val="white">
                    <a:lumMod val="65000"/>
                  </a:prstClr>
                </a:solidFill>
              </a:rPr>
              <a:t>Chile, Argentina</a:t>
            </a:r>
          </a:p>
          <a:p>
            <a:pPr marL="285750" lvl="2" indent="-285750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Mining/Off-grid hybrid engine opportunities</a:t>
            </a:r>
          </a:p>
          <a:p>
            <a:pPr marL="285750" lvl="2" indent="-285750">
              <a:buClr>
                <a:srgbClr val="FF7303"/>
              </a:buClr>
              <a:buFont typeface="Arial" charset="0"/>
              <a:buChar char="•"/>
            </a:pPr>
            <a:r>
              <a:rPr lang="en-US" dirty="0">
                <a:solidFill>
                  <a:prstClr val="white">
                    <a:lumMod val="65000"/>
                  </a:prstClr>
                </a:solidFill>
              </a:rPr>
              <a:t>Solar + storage applications</a:t>
            </a:r>
          </a:p>
          <a:p>
            <a:pPr marL="285750" indent="-285750">
              <a:buFont typeface="Arial" charset="0"/>
              <a:buChar char="•"/>
            </a:pPr>
            <a:endParaRPr lang="en-US" dirty="0">
              <a:solidFill>
                <a:prstClr val="white">
                  <a:lumMod val="65000"/>
                </a:prstClr>
              </a:solidFill>
            </a:endParaRPr>
          </a:p>
          <a:p>
            <a:pPr marL="285750" indent="-285750">
              <a:buFont typeface="Arial" charset="0"/>
              <a:buChar char="•"/>
            </a:pPr>
            <a:endParaRPr lang="en-US" dirty="0">
              <a:solidFill>
                <a:prstClr val="white">
                  <a:lumMod val="65000"/>
                </a:prstClr>
              </a:solidFill>
            </a:endParaRPr>
          </a:p>
          <a:p>
            <a:pPr marL="285750" indent="-285750">
              <a:buFont typeface="Arial" charset="0"/>
              <a:buChar char="•"/>
            </a:pPr>
            <a:endParaRPr lang="en-US" sz="2000" dirty="0" err="1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558" name="TextBox 557"/>
          <p:cNvSpPr txBox="1"/>
          <p:nvPr/>
        </p:nvSpPr>
        <p:spPr>
          <a:xfrm>
            <a:off x="8449641" y="1924197"/>
            <a:ext cx="3527709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463" lvl="1"/>
            <a:r>
              <a:rPr lang="en-US" b="1" dirty="0"/>
              <a:t>Australia</a:t>
            </a:r>
          </a:p>
          <a:p>
            <a:pPr marL="293688" lvl="2" indent="-276225">
              <a:buClr>
                <a:srgbClr val="FF7303"/>
              </a:buClr>
              <a:buFont typeface="Arial" charset="0"/>
              <a:buChar char="•"/>
            </a:pPr>
            <a:r>
              <a:rPr lang="en-US" dirty="0"/>
              <a:t>Grid-tied market is policy-driven at state level</a:t>
            </a:r>
          </a:p>
          <a:p>
            <a:pPr marL="293688" lvl="2" indent="-276225">
              <a:buClr>
                <a:srgbClr val="FF7303"/>
              </a:buClr>
              <a:buFont typeface="Arial" charset="0"/>
              <a:buChar char="•"/>
            </a:pPr>
            <a:r>
              <a:rPr lang="en-US" dirty="0"/>
              <a:t>Mining/Off-grid hybrid engine opportunities</a:t>
            </a:r>
          </a:p>
          <a:p>
            <a:pPr marL="17463" lvl="1"/>
            <a:r>
              <a:rPr lang="en-US" b="1" dirty="0"/>
              <a:t>Philippines</a:t>
            </a:r>
          </a:p>
          <a:p>
            <a:pPr marL="293688" lvl="2" indent="-276225">
              <a:buClr>
                <a:srgbClr val="FF7303"/>
              </a:buClr>
              <a:buFont typeface="Arial" charset="0"/>
              <a:buChar char="•"/>
            </a:pPr>
            <a:r>
              <a:rPr lang="en-US" dirty="0"/>
              <a:t>Hybrid engine opportunities</a:t>
            </a:r>
          </a:p>
          <a:p>
            <a:pPr marL="293688" lvl="2" indent="-276225">
              <a:buClr>
                <a:srgbClr val="FF7303"/>
              </a:buClr>
              <a:buFont typeface="Arial" charset="0"/>
              <a:buChar char="•"/>
            </a:pPr>
            <a:r>
              <a:rPr lang="en-US" dirty="0"/>
              <a:t>Solar + storage applications</a:t>
            </a:r>
          </a:p>
          <a:p>
            <a:pPr marL="293688" lvl="2" indent="-276225">
              <a:buClr>
                <a:srgbClr val="FF7303"/>
              </a:buClr>
              <a:buFont typeface="Arial" charset="0"/>
              <a:buChar char="•"/>
            </a:pPr>
            <a:r>
              <a:rPr lang="en-US" dirty="0"/>
              <a:t>Frequency and Voltage regulation</a:t>
            </a:r>
          </a:p>
          <a:p>
            <a:pPr>
              <a:buClr>
                <a:srgbClr val="FF7303"/>
              </a:buClr>
            </a:pPr>
            <a:r>
              <a:rPr lang="en-US" b="1" dirty="0"/>
              <a:t>Thailand</a:t>
            </a:r>
          </a:p>
          <a:p>
            <a:pPr marL="285750" indent="-285750">
              <a:buClr>
                <a:srgbClr val="FF7303"/>
              </a:buClr>
              <a:buFont typeface="Arial" panose="020B0604020202020204" pitchFamily="34" charset="0"/>
              <a:buChar char="•"/>
            </a:pPr>
            <a:r>
              <a:rPr lang="en-US" dirty="0"/>
              <a:t>Utility drives storage test systems</a:t>
            </a:r>
          </a:p>
          <a:p>
            <a:pPr>
              <a:buClr>
                <a:srgbClr val="FF7303"/>
              </a:buClr>
            </a:pPr>
            <a:r>
              <a:rPr lang="en-US" b="1" dirty="0"/>
              <a:t>South Pacific Islands</a:t>
            </a:r>
          </a:p>
          <a:p>
            <a:pPr marL="285750" indent="-285750">
              <a:buClr>
                <a:srgbClr val="FF7303"/>
              </a:buClr>
              <a:buFont typeface="Arial" panose="020B0604020202020204" pitchFamily="34" charset="0"/>
              <a:buChar char="•"/>
            </a:pPr>
            <a:r>
              <a:rPr lang="en-US" dirty="0"/>
              <a:t>Mini Grids, Increased RE</a:t>
            </a:r>
          </a:p>
          <a:p>
            <a:pPr marL="285750" indent="-285750">
              <a:buClr>
                <a:srgbClr val="FF7303"/>
              </a:buClr>
              <a:buFont typeface="Arial" panose="020B0604020202020204" pitchFamily="34" charset="0"/>
              <a:buChar char="•"/>
            </a:pPr>
            <a:r>
              <a:rPr lang="en-US" dirty="0"/>
              <a:t>Reactive Power &amp; f/U </a:t>
            </a:r>
            <a:r>
              <a:rPr lang="en-US" dirty="0" err="1"/>
              <a:t>stabilisation</a:t>
            </a:r>
            <a:endParaRPr lang="en-US" dirty="0"/>
          </a:p>
          <a:p>
            <a:pPr marL="1200150" lvl="2" indent="-285750">
              <a:buFont typeface="Arial" charset="0"/>
              <a:buChar char="•"/>
            </a:pP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07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Rectangle 145"/>
          <p:cNvSpPr/>
          <p:nvPr/>
        </p:nvSpPr>
        <p:spPr>
          <a:xfrm>
            <a:off x="0" y="1640096"/>
            <a:ext cx="12192000" cy="42702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268605" y="1623609"/>
            <a:ext cx="11647320" cy="4270277"/>
            <a:chOff x="268605" y="1611734"/>
            <a:chExt cx="11647320" cy="4270277"/>
          </a:xfrm>
        </p:grpSpPr>
        <p:cxnSp>
          <p:nvCxnSpPr>
            <p:cNvPr id="3" name="Straight Connector 2"/>
            <p:cNvCxnSpPr/>
            <p:nvPr/>
          </p:nvCxnSpPr>
          <p:spPr>
            <a:xfrm>
              <a:off x="4748345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>
              <a:off x="5644293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/>
            <p:cNvCxnSpPr/>
            <p:nvPr/>
          </p:nvCxnSpPr>
          <p:spPr>
            <a:xfrm>
              <a:off x="6540241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/>
            <p:cNvCxnSpPr/>
            <p:nvPr/>
          </p:nvCxnSpPr>
          <p:spPr>
            <a:xfrm>
              <a:off x="7436189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/>
          </p:nvCxnSpPr>
          <p:spPr>
            <a:xfrm>
              <a:off x="8332137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/>
            <p:cNvCxnSpPr/>
            <p:nvPr/>
          </p:nvCxnSpPr>
          <p:spPr>
            <a:xfrm>
              <a:off x="9228085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/>
            <p:cNvCxnSpPr/>
            <p:nvPr/>
          </p:nvCxnSpPr>
          <p:spPr>
            <a:xfrm>
              <a:off x="10124033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/>
            <p:cNvCxnSpPr/>
            <p:nvPr/>
          </p:nvCxnSpPr>
          <p:spPr>
            <a:xfrm>
              <a:off x="11019981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>
              <a:off x="11915925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/>
            <p:cNvCxnSpPr/>
            <p:nvPr/>
          </p:nvCxnSpPr>
          <p:spPr>
            <a:xfrm>
              <a:off x="1164553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/>
          </p:nvCxnSpPr>
          <p:spPr>
            <a:xfrm>
              <a:off x="3852397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/>
          </p:nvCxnSpPr>
          <p:spPr>
            <a:xfrm>
              <a:off x="2956449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/>
            <p:cNvCxnSpPr/>
            <p:nvPr/>
          </p:nvCxnSpPr>
          <p:spPr>
            <a:xfrm>
              <a:off x="2060501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/>
            <p:cNvCxnSpPr/>
            <p:nvPr/>
          </p:nvCxnSpPr>
          <p:spPr>
            <a:xfrm>
              <a:off x="268605" y="1611734"/>
              <a:ext cx="0" cy="4270277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7" name="Left-Right Arrow 146"/>
          <p:cNvSpPr/>
          <p:nvPr/>
        </p:nvSpPr>
        <p:spPr>
          <a:xfrm>
            <a:off x="1395006" y="6027110"/>
            <a:ext cx="9401988" cy="554829"/>
          </a:xfrm>
          <a:prstGeom prst="leftRightArrow">
            <a:avLst/>
          </a:prstGeom>
          <a:solidFill>
            <a:srgbClr val="8289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6" name="Picture 35" descr="C:\Users\Anik\Dropbox (GS Commercial Team)\GS Accounts Shared\TEP\Charts\Voltage Control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22520" y="4473919"/>
            <a:ext cx="2396060" cy="12292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0" name="Group 39"/>
          <p:cNvGrpSpPr/>
          <p:nvPr/>
        </p:nvGrpSpPr>
        <p:grpSpPr>
          <a:xfrm>
            <a:off x="9350847" y="4186126"/>
            <a:ext cx="3004259" cy="1517081"/>
            <a:chOff x="8195506" y="1558576"/>
            <a:chExt cx="3117617" cy="1484736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9457" r="895" b="1245"/>
            <a:stretch/>
          </p:blipFill>
          <p:spPr>
            <a:xfrm>
              <a:off x="8715108" y="1858176"/>
              <a:ext cx="2078411" cy="1185136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8195506" y="1558576"/>
              <a:ext cx="311761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>
                      <a:lumMod val="50000"/>
                    </a:schemeClr>
                  </a:solidFill>
                  <a:ea typeface="Arial" charset="0"/>
                  <a:cs typeface="Arial" charset="0"/>
                </a:rPr>
                <a:t>System Load Leveling</a:t>
              </a: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9654309" y="1959874"/>
            <a:ext cx="2285369" cy="1675763"/>
            <a:chOff x="5908297" y="5142916"/>
            <a:chExt cx="2182332" cy="1449192"/>
          </a:xfrm>
        </p:grpSpPr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8297" y="5463181"/>
              <a:ext cx="2182329" cy="1128927"/>
            </a:xfrm>
            <a:prstGeom prst="rect">
              <a:avLst/>
            </a:prstGeom>
          </p:spPr>
        </p:pic>
        <p:sp>
          <p:nvSpPr>
            <p:cNvPr id="45" name="TextBox 44"/>
            <p:cNvSpPr txBox="1"/>
            <p:nvPr/>
          </p:nvSpPr>
          <p:spPr>
            <a:xfrm>
              <a:off x="5908297" y="5142916"/>
              <a:ext cx="2182332" cy="3128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>
                      <a:lumMod val="50000"/>
                    </a:schemeClr>
                  </a:solidFill>
                  <a:ea typeface="Arial" charset="0"/>
                  <a:cs typeface="Arial" charset="0"/>
                </a:rPr>
                <a:t>Bulk Capacity</a:t>
              </a:r>
            </a:p>
          </p:txBody>
        </p:sp>
      </p:grpSp>
      <p:pic>
        <p:nvPicPr>
          <p:cNvPr id="46" name="Picture 4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41566" y="1991997"/>
            <a:ext cx="2149917" cy="1326745"/>
          </a:xfrm>
          <a:prstGeom prst="rect">
            <a:avLst/>
          </a:prstGeom>
        </p:spPr>
      </p:pic>
      <p:pic>
        <p:nvPicPr>
          <p:cNvPr id="47" name="Picture 46" descr="C:\Users\Kent Sheldon\Dropbox (GS Commercial Team)\GS Accounts Shared\TEP\Charts\Final\Frequency Response v2.png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588"/>
          <a:stretch/>
        </p:blipFill>
        <p:spPr bwMode="auto">
          <a:xfrm>
            <a:off x="249255" y="4413736"/>
            <a:ext cx="2188820" cy="1109165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TextBox 47"/>
          <p:cNvSpPr txBox="1"/>
          <p:nvPr/>
        </p:nvSpPr>
        <p:spPr>
          <a:xfrm>
            <a:off x="2814288" y="4090519"/>
            <a:ext cx="2150973" cy="245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Voltage Control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2876263" y="2417364"/>
            <a:ext cx="1720157" cy="1172370"/>
            <a:chOff x="457200" y="1693412"/>
            <a:chExt cx="6515100" cy="2958597"/>
          </a:xfrm>
        </p:grpSpPr>
        <p:pic>
          <p:nvPicPr>
            <p:cNvPr id="50" name="Picture 49"/>
            <p:cNvPicPr/>
            <p:nvPr/>
          </p:nvPicPr>
          <p:blipFill rotWithShape="1"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4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6516" y="1828800"/>
              <a:ext cx="6195784" cy="2823209"/>
            </a:xfrm>
            <a:prstGeom prst="rect">
              <a:avLst/>
            </a:prstGeom>
          </p:spPr>
        </p:pic>
        <p:sp>
          <p:nvSpPr>
            <p:cNvPr id="51" name="TextBox 50"/>
            <p:cNvSpPr txBox="1"/>
            <p:nvPr/>
          </p:nvSpPr>
          <p:spPr>
            <a:xfrm>
              <a:off x="457200" y="1693412"/>
              <a:ext cx="1262741" cy="3844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>
                  <a:solidFill>
                    <a:srgbClr val="000000"/>
                  </a:solidFill>
                  <a:latin typeface="Arial" charset="0"/>
                  <a:ea typeface="Arial" charset="0"/>
                  <a:cs typeface="Arial" charset="0"/>
                </a:rPr>
                <a:t>MW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423976" y="2180908"/>
            <a:ext cx="2036200" cy="1654716"/>
            <a:chOff x="1178370" y="1146344"/>
            <a:chExt cx="7965630" cy="6808625"/>
          </a:xfrm>
        </p:grpSpPr>
        <p:cxnSp>
          <p:nvCxnSpPr>
            <p:cNvPr id="54" name="Straight Arrow Connector 53"/>
            <p:cNvCxnSpPr/>
            <p:nvPr/>
          </p:nvCxnSpPr>
          <p:spPr>
            <a:xfrm flipV="1">
              <a:off x="5496910" y="1818290"/>
              <a:ext cx="0" cy="4183117"/>
            </a:xfrm>
            <a:prstGeom prst="straightConnector1">
              <a:avLst/>
            </a:prstGeom>
            <a:ln>
              <a:solidFill>
                <a:schemeClr val="tx1"/>
              </a:solidFill>
              <a:prstDash val="lg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/>
            <p:nvPr/>
          </p:nvCxnSpPr>
          <p:spPr>
            <a:xfrm>
              <a:off x="2319688" y="3803780"/>
              <a:ext cx="6505574" cy="962"/>
            </a:xfrm>
            <a:prstGeom prst="straightConnector1">
              <a:avLst/>
            </a:prstGeom>
            <a:ln>
              <a:solidFill>
                <a:schemeClr val="tx1"/>
              </a:solidFill>
              <a:prstDash val="lgDash"/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Rectangle 55"/>
            <p:cNvSpPr/>
            <p:nvPr/>
          </p:nvSpPr>
          <p:spPr>
            <a:xfrm>
              <a:off x="4891483" y="3191436"/>
              <a:ext cx="1229711" cy="1229711"/>
            </a:xfrm>
            <a:prstGeom prst="rect">
              <a:avLst/>
            </a:prstGeom>
            <a:solidFill>
              <a:schemeClr val="accent1">
                <a:alpha val="50000"/>
              </a:schemeClr>
            </a:solidFill>
            <a:ln>
              <a:solidFill>
                <a:srgbClr val="4171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6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cxnSp>
          <p:nvCxnSpPr>
            <p:cNvPr id="57" name="Straight Connector 56"/>
            <p:cNvCxnSpPr/>
            <p:nvPr/>
          </p:nvCxnSpPr>
          <p:spPr>
            <a:xfrm>
              <a:off x="6121194" y="3186412"/>
              <a:ext cx="1731888" cy="2375646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6121194" y="4421147"/>
              <a:ext cx="1731888" cy="1145935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7848058" y="5565644"/>
              <a:ext cx="739589" cy="0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6121194" y="3803780"/>
              <a:ext cx="1726864" cy="1758278"/>
            </a:xfrm>
            <a:prstGeom prst="line">
              <a:avLst/>
            </a:prstGeom>
            <a:ln w="12700">
              <a:solidFill>
                <a:srgbClr val="4171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 rot="10800000" flipH="1" flipV="1">
              <a:off x="3161295" y="2052225"/>
              <a:ext cx="1731888" cy="2375646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rot="10800000" flipH="1" flipV="1">
              <a:off x="3161295" y="2047201"/>
              <a:ext cx="1731888" cy="1145935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 rot="10800000" flipH="1" flipV="1">
              <a:off x="2426730" y="2048639"/>
              <a:ext cx="739589" cy="0"/>
            </a:xfrm>
            <a:prstGeom prst="line">
              <a:avLst/>
            </a:prstGeom>
            <a:ln w="12700">
              <a:solidFill>
                <a:srgbClr val="41719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/>
          </p:nvCxnSpPr>
          <p:spPr>
            <a:xfrm rot="10800000" flipH="1" flipV="1">
              <a:off x="3166319" y="2052225"/>
              <a:ext cx="1726864" cy="1758278"/>
            </a:xfrm>
            <a:prstGeom prst="line">
              <a:avLst/>
            </a:prstGeom>
            <a:ln w="12700">
              <a:solidFill>
                <a:srgbClr val="41719C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Arrow Connector 64"/>
            <p:cNvCxnSpPr/>
            <p:nvPr/>
          </p:nvCxnSpPr>
          <p:spPr>
            <a:xfrm>
              <a:off x="2319688" y="6001407"/>
              <a:ext cx="6824312" cy="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Arrow Connector 65"/>
            <p:cNvCxnSpPr/>
            <p:nvPr/>
          </p:nvCxnSpPr>
          <p:spPr>
            <a:xfrm flipV="1">
              <a:off x="2319688" y="1690688"/>
              <a:ext cx="0" cy="4310719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 flipH="1">
              <a:off x="2233061" y="2047201"/>
              <a:ext cx="8662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flipH="1">
              <a:off x="2363693" y="3186412"/>
              <a:ext cx="2464755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 flipH="1">
              <a:off x="2363693" y="4408921"/>
              <a:ext cx="2464755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flipH="1">
              <a:off x="2233061" y="3193137"/>
              <a:ext cx="8662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flipH="1">
              <a:off x="2233061" y="4408921"/>
              <a:ext cx="8662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flipH="1">
              <a:off x="2233061" y="3811317"/>
              <a:ext cx="8662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TextBox 72"/>
            <p:cNvSpPr txBox="1"/>
            <p:nvPr/>
          </p:nvSpPr>
          <p:spPr>
            <a:xfrm>
              <a:off x="1856980" y="1849500"/>
              <a:ext cx="865647" cy="6714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10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821892" y="3001746"/>
              <a:ext cx="932160" cy="6714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2.5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1995721" y="3616643"/>
              <a:ext cx="727515" cy="6714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0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1750464" y="4224254"/>
              <a:ext cx="1014018" cy="6714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-2.5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1798277" y="5377285"/>
              <a:ext cx="947505" cy="6714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-10</a:t>
              </a:r>
            </a:p>
          </p:txBody>
        </p:sp>
        <p:cxnSp>
          <p:nvCxnSpPr>
            <p:cNvPr id="78" name="Straight Connector 77"/>
            <p:cNvCxnSpPr/>
            <p:nvPr/>
          </p:nvCxnSpPr>
          <p:spPr>
            <a:xfrm flipH="1">
              <a:off x="2363693" y="5561950"/>
              <a:ext cx="5413211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 flipH="1">
              <a:off x="2229792" y="5561950"/>
              <a:ext cx="86627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>
              <a:off x="5496910" y="6001407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>
              <a:off x="6121194" y="6001407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>
              <a:off x="6121194" y="4499360"/>
              <a:ext cx="0" cy="1434969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>
              <a:off x="4891483" y="6001407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>
              <a:off x="4891483" y="4499360"/>
              <a:ext cx="0" cy="1434969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>
              <a:off x="7848058" y="5642688"/>
              <a:ext cx="0" cy="291641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>
              <a:off x="7848058" y="6001407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>
              <a:off x="3161294" y="2116729"/>
              <a:ext cx="0" cy="381760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>
              <a:off x="3161294" y="6001407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TextBox 88"/>
            <p:cNvSpPr txBox="1"/>
            <p:nvPr/>
          </p:nvSpPr>
          <p:spPr>
            <a:xfrm rot="16200000">
              <a:off x="-1931255" y="4255969"/>
              <a:ext cx="6808625" cy="5893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⟵ Charging     Capability (MW)    Discharging ⟶</a:t>
              </a:r>
            </a:p>
          </p:txBody>
        </p:sp>
        <p:sp>
          <p:nvSpPr>
            <p:cNvPr id="90" name="TextBox 89"/>
            <p:cNvSpPr txBox="1"/>
            <p:nvPr/>
          </p:nvSpPr>
          <p:spPr>
            <a:xfrm>
              <a:off x="2863067" y="6085936"/>
              <a:ext cx="1070291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49.8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1" name="TextBox 90"/>
            <p:cNvSpPr txBox="1"/>
            <p:nvPr/>
          </p:nvSpPr>
          <p:spPr>
            <a:xfrm>
              <a:off x="7550234" y="6081490"/>
              <a:ext cx="1070291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50.2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6488847" y="6081490"/>
              <a:ext cx="840070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</a:t>
              </a:r>
              <a:r>
                <a:rPr lang="en-US" sz="600" baseline="-250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n2</a:t>
              </a:r>
            </a:p>
          </p:txBody>
        </p:sp>
        <p:cxnSp>
          <p:nvCxnSpPr>
            <p:cNvPr id="93" name="Straight Connector 92"/>
            <p:cNvCxnSpPr/>
            <p:nvPr/>
          </p:nvCxnSpPr>
          <p:spPr>
            <a:xfrm>
              <a:off x="6629729" y="6001406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/>
            <p:nvPr/>
          </p:nvCxnSpPr>
          <p:spPr>
            <a:xfrm flipH="1">
              <a:off x="6629729" y="3985979"/>
              <a:ext cx="33996" cy="1948349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/>
            <p:cNvSpPr txBox="1"/>
            <p:nvPr/>
          </p:nvSpPr>
          <p:spPr>
            <a:xfrm>
              <a:off x="5763850" y="6082500"/>
              <a:ext cx="1208430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50.05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6" name="TextBox 95"/>
            <p:cNvSpPr txBox="1"/>
            <p:nvPr/>
          </p:nvSpPr>
          <p:spPr>
            <a:xfrm>
              <a:off x="4570826" y="6081482"/>
              <a:ext cx="1208430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49.95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5296689" y="6081482"/>
              <a:ext cx="865647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50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4293644" y="6081490"/>
              <a:ext cx="840070" cy="6714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f</a:t>
              </a:r>
              <a:r>
                <a:rPr lang="en-US" sz="600" baseline="-250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n1</a:t>
              </a:r>
            </a:p>
          </p:txBody>
        </p:sp>
        <p:cxnSp>
          <p:nvCxnSpPr>
            <p:cNvPr id="99" name="Straight Connector 98"/>
            <p:cNvCxnSpPr/>
            <p:nvPr/>
          </p:nvCxnSpPr>
          <p:spPr>
            <a:xfrm>
              <a:off x="4525961" y="6001406"/>
              <a:ext cx="0" cy="80079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/>
          </p:nvCxnSpPr>
          <p:spPr>
            <a:xfrm>
              <a:off x="4540348" y="3001746"/>
              <a:ext cx="0" cy="2932582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TextBox 100"/>
            <p:cNvSpPr txBox="1"/>
            <p:nvPr/>
          </p:nvSpPr>
          <p:spPr>
            <a:xfrm>
              <a:off x="3521871" y="6460667"/>
              <a:ext cx="3954166" cy="13428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00" dirty="0">
                  <a:solidFill>
                    <a:schemeClr val="accent2">
                      <a:lumMod val="75000"/>
                    </a:schemeClr>
                  </a:solidFill>
                  <a:latin typeface="Arial" charset="0"/>
                  <a:ea typeface="Arial" charset="0"/>
                  <a:cs typeface="Arial" charset="0"/>
                </a:rPr>
                <a:t>⟵∆f (–)	   Frequency (Hz)	∆f (+) ⟶</a:t>
              </a:r>
              <a:endParaRPr lang="en-US" sz="600" baseline="-25000" dirty="0">
                <a:solidFill>
                  <a:schemeClr val="accent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endParaRPr>
            </a:p>
          </p:txBody>
        </p:sp>
      </p:grpSp>
      <p:pic>
        <p:nvPicPr>
          <p:cNvPr id="102" name="Picture 101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99" t="11801" r="1272" b="2791"/>
          <a:stretch/>
        </p:blipFill>
        <p:spPr bwMode="auto">
          <a:xfrm>
            <a:off x="4906901" y="3171516"/>
            <a:ext cx="1855371" cy="115072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3" name="Picture 102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9" t="8074" r="1180" b="2312"/>
          <a:stretch/>
        </p:blipFill>
        <p:spPr bwMode="auto">
          <a:xfrm>
            <a:off x="6428776" y="4509259"/>
            <a:ext cx="1871365" cy="121409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4" name="Picture 103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83" t="10466" r="1262" b="3030"/>
          <a:stretch/>
        </p:blipFill>
        <p:spPr bwMode="auto">
          <a:xfrm>
            <a:off x="8137748" y="3354129"/>
            <a:ext cx="1859941" cy="106350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5" name="TextBox 104"/>
          <p:cNvSpPr txBox="1"/>
          <p:nvPr/>
        </p:nvSpPr>
        <p:spPr>
          <a:xfrm>
            <a:off x="6707159" y="4040483"/>
            <a:ext cx="12879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Storage + </a:t>
            </a:r>
          </a:p>
          <a:p>
            <a:pPr algn="ctr"/>
            <a:r>
              <a:rPr lang="en-US" sz="1400" b="1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Renewables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-78869" y="1950477"/>
            <a:ext cx="2805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Frequency Response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2439807" y="1970214"/>
            <a:ext cx="28056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>
                    <a:lumMod val="50000"/>
                  </a:schemeClr>
                </a:solidFill>
                <a:ea typeface="Arial" charset="0"/>
                <a:cs typeface="Arial" charset="0"/>
              </a:rPr>
              <a:t>Frequency Regulation via AGC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74182" y="967164"/>
            <a:ext cx="10317887" cy="489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80"/>
              </a:lnSpc>
              <a:buClr>
                <a:srgbClr val="FF7321"/>
              </a:buClr>
            </a:pPr>
            <a:r>
              <a:rPr lang="en-US" sz="2900" b="1" spc="100" dirty="0">
                <a:solidFill>
                  <a:srgbClr val="0F334A"/>
                </a:solidFill>
                <a:latin typeface="Helvetica Neue" charset="0"/>
                <a:ea typeface="Helvetica Neue" charset="0"/>
                <a:cs typeface="Helvetica Neue" charset="0"/>
              </a:rPr>
              <a:t>Energy storage solves </a:t>
            </a:r>
            <a:r>
              <a:rPr lang="en-US" sz="2900" b="1" spc="100" dirty="0">
                <a:solidFill>
                  <a:srgbClr val="00935E"/>
                </a:solidFill>
                <a:latin typeface="Helvetica Neue" charset="0"/>
                <a:ea typeface="Helvetica Neue" charset="0"/>
                <a:cs typeface="Helvetica Neue" charset="0"/>
              </a:rPr>
              <a:t>multiple problems for utilities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567275" y="6089862"/>
            <a:ext cx="1909288" cy="353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1300" b="1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Energy use cases</a:t>
            </a:r>
            <a:endParaRPr lang="en-US" sz="1300" dirty="0">
              <a:solidFill>
                <a:schemeClr val="bg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756596" y="6099801"/>
            <a:ext cx="1940304" cy="353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Clr>
                <a:schemeClr val="bg1">
                  <a:lumMod val="95000"/>
                </a:schemeClr>
              </a:buClr>
            </a:pPr>
            <a:r>
              <a:rPr lang="en-US" sz="1300" b="1" dirty="0">
                <a:solidFill>
                  <a:schemeClr val="bg1"/>
                </a:solidFill>
                <a:latin typeface="Helvetica Neue Light" charset="0"/>
                <a:ea typeface="Helvetica Neue Light" charset="0"/>
                <a:cs typeface="Helvetica Neue Light" charset="0"/>
              </a:rPr>
              <a:t>Power use cases</a:t>
            </a:r>
            <a:endParaRPr lang="en-US" sz="1300" dirty="0">
              <a:solidFill>
                <a:schemeClr val="bg1"/>
              </a:solidFill>
              <a:latin typeface="Helvetica Neue Light" charset="0"/>
              <a:ea typeface="Helvetica Neue Light" charset="0"/>
              <a:cs typeface="Helvetica Neue Light" charset="0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303863" y="162462"/>
            <a:ext cx="2125011" cy="2846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480"/>
              </a:lnSpc>
            </a:pPr>
            <a:r>
              <a:rPr lang="en-US" sz="1400" b="1" dirty="0">
                <a:solidFill>
                  <a:schemeClr val="bg1"/>
                </a:solidFill>
                <a:latin typeface="Helvetica Neue" charset="0"/>
                <a:ea typeface="Helvetica Neue" charset="0"/>
                <a:cs typeface="Helvetica Neue" charset="0"/>
              </a:rPr>
              <a:t>Balancing the Grid</a:t>
            </a:r>
          </a:p>
        </p:txBody>
      </p:sp>
    </p:spTree>
    <p:extLst>
      <p:ext uri="{BB962C8B-B14F-4D97-AF65-F5344CB8AC3E}">
        <p14:creationId xmlns:p14="http://schemas.microsoft.com/office/powerpoint/2010/main" val="379164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Wartsila">
  <a:themeElements>
    <a:clrScheme name="Wartsila_colours">
      <a:dk1>
        <a:sysClr val="windowText" lastClr="000000"/>
      </a:dk1>
      <a:lt1>
        <a:sysClr val="window" lastClr="FFFFFF"/>
      </a:lt1>
      <a:dk2>
        <a:srgbClr val="0F334A"/>
      </a:dk2>
      <a:lt2>
        <a:srgbClr val="B3B3B3"/>
      </a:lt2>
      <a:accent1>
        <a:srgbClr val="004A6B"/>
      </a:accent1>
      <a:accent2>
        <a:srgbClr val="FF7303"/>
      </a:accent2>
      <a:accent3>
        <a:srgbClr val="555555"/>
      </a:accent3>
      <a:accent4>
        <a:srgbClr val="808080"/>
      </a:accent4>
      <a:accent5>
        <a:srgbClr val="CCCCCC"/>
      </a:accent5>
      <a:accent6>
        <a:srgbClr val="086795"/>
      </a:accent6>
      <a:hlink>
        <a:srgbClr val="FF7321"/>
      </a:hlink>
      <a:folHlink>
        <a:srgbClr val="004A6B"/>
      </a:folHlink>
    </a:clrScheme>
    <a:fontScheme name="Wärtsilä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 cap="rnd">
          <a:solidFill>
            <a:schemeClr val="accent2"/>
          </a:solidFill>
          <a:round/>
          <a:headEnd type="oval" w="lg" len="lg"/>
          <a:tailEnd type="oval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>
            <a:solidFill>
              <a:srgbClr val="4D4D4D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DA3DE7BB-BC13-1D46-82F0-8A4FF140140F}" vid="{9CF239E4-7516-2945-9B44-854D9200586A}"/>
    </a:ext>
  </a:extLst>
</a:theme>
</file>

<file path=ppt/theme/theme2.xml><?xml version="1.0" encoding="utf-8"?>
<a:theme xmlns:a="http://schemas.openxmlformats.org/drawingml/2006/main" name="1_Wartsila">
  <a:themeElements>
    <a:clrScheme name="Wartsila_colours">
      <a:dk1>
        <a:sysClr val="windowText" lastClr="000000"/>
      </a:dk1>
      <a:lt1>
        <a:sysClr val="window" lastClr="FFFFFF"/>
      </a:lt1>
      <a:dk2>
        <a:srgbClr val="0F334A"/>
      </a:dk2>
      <a:lt2>
        <a:srgbClr val="B3B3B3"/>
      </a:lt2>
      <a:accent1>
        <a:srgbClr val="004A6B"/>
      </a:accent1>
      <a:accent2>
        <a:srgbClr val="FF7303"/>
      </a:accent2>
      <a:accent3>
        <a:srgbClr val="555555"/>
      </a:accent3>
      <a:accent4>
        <a:srgbClr val="808080"/>
      </a:accent4>
      <a:accent5>
        <a:srgbClr val="CCCCCC"/>
      </a:accent5>
      <a:accent6>
        <a:srgbClr val="086795"/>
      </a:accent6>
      <a:hlink>
        <a:srgbClr val="FF7321"/>
      </a:hlink>
      <a:folHlink>
        <a:srgbClr val="004A6B"/>
      </a:folHlink>
    </a:clrScheme>
    <a:fontScheme name="Wärtsilä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 cap="rnd">
          <a:solidFill>
            <a:schemeClr val="accent2"/>
          </a:solidFill>
          <a:round/>
          <a:headEnd type="oval" w="lg" len="lg"/>
          <a:tailEnd type="oval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>
            <a:solidFill>
              <a:srgbClr val="4D4D4D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DA3DE7BB-BC13-1D46-82F0-8A4FF140140F}" vid="{9CF239E4-7516-2945-9B44-854D9200586A}"/>
    </a:ext>
  </a:extLst>
</a:theme>
</file>

<file path=ppt/theme/theme3.xml><?xml version="1.0" encoding="utf-8"?>
<a:theme xmlns:a="http://schemas.openxmlformats.org/drawingml/2006/main" name="2_Wartsila">
  <a:themeElements>
    <a:clrScheme name="Wartsila_colours">
      <a:dk1>
        <a:sysClr val="windowText" lastClr="000000"/>
      </a:dk1>
      <a:lt1>
        <a:sysClr val="window" lastClr="FFFFFF"/>
      </a:lt1>
      <a:dk2>
        <a:srgbClr val="0F334A"/>
      </a:dk2>
      <a:lt2>
        <a:srgbClr val="B3B3B3"/>
      </a:lt2>
      <a:accent1>
        <a:srgbClr val="004A6B"/>
      </a:accent1>
      <a:accent2>
        <a:srgbClr val="FF7303"/>
      </a:accent2>
      <a:accent3>
        <a:srgbClr val="555555"/>
      </a:accent3>
      <a:accent4>
        <a:srgbClr val="808080"/>
      </a:accent4>
      <a:accent5>
        <a:srgbClr val="CCCCCC"/>
      </a:accent5>
      <a:accent6>
        <a:srgbClr val="086795"/>
      </a:accent6>
      <a:hlink>
        <a:srgbClr val="FF7321"/>
      </a:hlink>
      <a:folHlink>
        <a:srgbClr val="004A6B"/>
      </a:folHlink>
    </a:clrScheme>
    <a:fontScheme name="Wärtsilä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 cap="rnd">
          <a:solidFill>
            <a:schemeClr val="accent2"/>
          </a:solidFill>
          <a:round/>
          <a:headEnd type="oval" w="lg" len="lg"/>
          <a:tailEnd type="oval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>
            <a:solidFill>
              <a:srgbClr val="4D4D4D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artsila.potx" id="{C133096F-2C84-43F6-A45D-DA0CF585AC00}" vid="{93D1EB07-7413-4C89-8799-A79E78BDED91}"/>
    </a:ext>
  </a:extLst>
</a:theme>
</file>

<file path=ppt/theme/theme4.xml><?xml version="1.0" encoding="utf-8"?>
<a:theme xmlns:a="http://schemas.openxmlformats.org/drawingml/2006/main" name="3_Wartsila">
  <a:themeElements>
    <a:clrScheme name="Wartsila_colours">
      <a:dk1>
        <a:sysClr val="windowText" lastClr="000000"/>
      </a:dk1>
      <a:lt1>
        <a:sysClr val="window" lastClr="FFFFFF"/>
      </a:lt1>
      <a:dk2>
        <a:srgbClr val="0F334A"/>
      </a:dk2>
      <a:lt2>
        <a:srgbClr val="B3B3B3"/>
      </a:lt2>
      <a:accent1>
        <a:srgbClr val="004A6B"/>
      </a:accent1>
      <a:accent2>
        <a:srgbClr val="FF7303"/>
      </a:accent2>
      <a:accent3>
        <a:srgbClr val="555555"/>
      </a:accent3>
      <a:accent4>
        <a:srgbClr val="808080"/>
      </a:accent4>
      <a:accent5>
        <a:srgbClr val="CCCCCC"/>
      </a:accent5>
      <a:accent6>
        <a:srgbClr val="086795"/>
      </a:accent6>
      <a:hlink>
        <a:srgbClr val="FF7321"/>
      </a:hlink>
      <a:folHlink>
        <a:srgbClr val="004A6B"/>
      </a:folHlink>
    </a:clrScheme>
    <a:fontScheme name="Wärtsilä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8575" cap="rnd">
          <a:solidFill>
            <a:schemeClr val="accent2"/>
          </a:solidFill>
          <a:round/>
          <a:headEnd type="oval" w="lg" len="lg"/>
          <a:tailEnd type="oval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>
            <a:solidFill>
              <a:srgbClr val="4D4D4D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DA3DE7BB-BC13-1D46-82F0-8A4FF140140F}" vid="{9CF239E4-7516-2945-9B44-854D9200586A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Wärtsilä">
    <a:dk1>
      <a:srgbClr val="000000"/>
    </a:dk1>
    <a:lt1>
      <a:srgbClr val="FFFFFF"/>
    </a:lt1>
    <a:dk2>
      <a:srgbClr val="919191"/>
    </a:dk2>
    <a:lt2>
      <a:srgbClr val="D9D9D9"/>
    </a:lt2>
    <a:accent1>
      <a:srgbClr val="FF7300"/>
    </a:accent1>
    <a:accent2>
      <a:srgbClr val="383838"/>
    </a:accent2>
    <a:accent3>
      <a:srgbClr val="737373"/>
    </a:accent3>
    <a:accent4>
      <a:srgbClr val="FF9D4C"/>
    </a:accent4>
    <a:accent5>
      <a:srgbClr val="FFC799"/>
    </a:accent5>
    <a:accent6>
      <a:srgbClr val="0096D1"/>
    </a:accent6>
    <a:hlink>
      <a:srgbClr val="383838"/>
    </a:hlink>
    <a:folHlink>
      <a:srgbClr val="737373"/>
    </a:folHlink>
  </a:clrScheme>
  <a:fontScheme name="Wärtsilä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SW Template</Template>
  <TotalTime>22897</TotalTime>
  <Words>1647</Words>
  <Application>Microsoft Office PowerPoint</Application>
  <PresentationFormat>Widescreen</PresentationFormat>
  <Paragraphs>653</Paragraphs>
  <Slides>24</Slides>
  <Notes>10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24</vt:i4>
      </vt:variant>
    </vt:vector>
  </HeadingPairs>
  <TitlesOfParts>
    <vt:vector size="39" baseType="lpstr">
      <vt:lpstr>ＭＳ Ｐゴシック</vt:lpstr>
      <vt:lpstr>Arial</vt:lpstr>
      <vt:lpstr>Arial (body)</vt:lpstr>
      <vt:lpstr>Calibri</vt:lpstr>
      <vt:lpstr>Century Gothic</vt:lpstr>
      <vt:lpstr>Courier New</vt:lpstr>
      <vt:lpstr>Helvetica</vt:lpstr>
      <vt:lpstr>Helvetica Neue</vt:lpstr>
      <vt:lpstr>Helvetica Neue Light</vt:lpstr>
      <vt:lpstr>Wingdings</vt:lpstr>
      <vt:lpstr>Wartsila</vt:lpstr>
      <vt:lpstr>1_Wartsila</vt:lpstr>
      <vt:lpstr>2_Wartsila</vt:lpstr>
      <vt:lpstr>3_Wartsila</vt:lpstr>
      <vt:lpstr>1_Office Theme</vt:lpstr>
      <vt:lpstr>Intelligent Integration of Energy Storage Systems in the South Pacific Region</vt:lpstr>
      <vt:lpstr>PowerPoint Presentation</vt:lpstr>
      <vt:lpstr>PowerPoint Presentation</vt:lpstr>
      <vt:lpstr>PowerPoint Presentation</vt:lpstr>
      <vt:lpstr>PowerPoint Presentation</vt:lpstr>
      <vt:lpstr>The Modern Power System in the South pacific is facing Many Challenges</vt:lpstr>
      <vt:lpstr>Markets for Ancillary Services are Developing Worldwide</vt:lpstr>
      <vt:lpstr>Key Markets by Region</vt:lpstr>
      <vt:lpstr>PowerPoint Presentation</vt:lpstr>
      <vt:lpstr>PowerPoint Presentation</vt:lpstr>
      <vt:lpstr>PowerPoint Presentation</vt:lpstr>
      <vt:lpstr>Award of 2.4MW/2.4MWh ESS Test Bed for EMA and SP Group announced in Singapore International Energy Week (SIEW) 2017 – 23 October 2017 </vt:lpstr>
      <vt:lpstr>Project Overview</vt:lpstr>
      <vt:lpstr>PowerPoint Presentation</vt:lpstr>
      <vt:lpstr>PowerPoint Presentation</vt:lpstr>
      <vt:lpstr>Graciosa (Azores) Microgri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attery Chemistry for Every Application</vt:lpstr>
      <vt:lpstr>Sizing Strategy Impact on ROI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TA ESS Workshop</dc:title>
  <dc:creator>Van Butselaar, Wilhelm</dc:creator>
  <cp:lastModifiedBy>Van Butselaar, Wilhelm</cp:lastModifiedBy>
  <cp:revision>286</cp:revision>
  <cp:lastPrinted>2018-04-12T05:29:33Z</cp:lastPrinted>
  <dcterms:created xsi:type="dcterms:W3CDTF">2017-08-24T22:39:16Z</dcterms:created>
  <dcterms:modified xsi:type="dcterms:W3CDTF">2018-08-02T02:1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RONO_CP_Class">
    <vt:lpwstr>Public</vt:lpwstr>
  </property>
  <property fmtid="{D5CDD505-2E9C-101B-9397-08002B2CF9AE}" pid="3" name="KRONO_status">
    <vt:lpwstr> </vt:lpwstr>
  </property>
  <property fmtid="{D5CDD505-2E9C-101B-9397-08002B2CF9AE}" pid="4" name="KRONO_version">
    <vt:lpwstr> </vt:lpwstr>
  </property>
  <property fmtid="{D5CDD505-2E9C-101B-9397-08002B2CF9AE}" pid="5" name="KRONO_number">
    <vt:lpwstr> </vt:lpwstr>
  </property>
  <property fmtid="{D5CDD505-2E9C-101B-9397-08002B2CF9AE}" pid="6" name="KRONO_doctype">
    <vt:lpwstr> </vt:lpwstr>
  </property>
  <property fmtid="{D5CDD505-2E9C-101B-9397-08002B2CF9AE}" pid="7" name="KRONO_modificationdate">
    <vt:lpwstr> </vt:lpwstr>
  </property>
  <property fmtid="{D5CDD505-2E9C-101B-9397-08002B2CF9AE}" pid="8" name="KRONO_name">
    <vt:lpwstr> </vt:lpwstr>
  </property>
  <property fmtid="{D5CDD505-2E9C-101B-9397-08002B2CF9AE}" pid="9" name="KRONO_modifier">
    <vt:lpwstr> </vt:lpwstr>
  </property>
  <property fmtid="{D5CDD505-2E9C-101B-9397-08002B2CF9AE}" pid="10" name="KRONO_relevance">
    <vt:lpwstr> </vt:lpwstr>
  </property>
  <property fmtid="{D5CDD505-2E9C-101B-9397-08002B2CF9AE}" pid="11" name="KRONO_author">
    <vt:lpwstr> </vt:lpwstr>
  </property>
  <property fmtid="{D5CDD505-2E9C-101B-9397-08002B2CF9AE}" pid="12" name="KRONO_filename">
    <vt:lpwstr> </vt:lpwstr>
  </property>
  <property fmtid="{D5CDD505-2E9C-101B-9397-08002B2CF9AE}" pid="13" name="KRONO_CP_PRNAME">
    <vt:lpwstr> </vt:lpwstr>
  </property>
  <property fmtid="{D5CDD505-2E9C-101B-9397-08002B2CF9AE}" pid="14" name="KRONO_CP_PRNUM">
    <vt:lpwstr> </vt:lpwstr>
  </property>
  <property fmtid="{D5CDD505-2E9C-101B-9397-08002B2CF9AE}" pid="15" name="KRONO_CP_WCMP">
    <vt:lpwstr> </vt:lpwstr>
  </property>
  <property fmtid="{D5CDD505-2E9C-101B-9397-08002B2CF9AE}" pid="16" name="KRONO_creationdate">
    <vt:lpwstr> </vt:lpwstr>
  </property>
  <property fmtid="{D5CDD505-2E9C-101B-9397-08002B2CF9AE}" pid="17" name="KRONO_creator">
    <vt:lpwstr> </vt:lpwstr>
  </property>
  <property fmtid="{D5CDD505-2E9C-101B-9397-08002B2CF9AE}" pid="18" name="KRONO_projectname">
    <vt:lpwstr> </vt:lpwstr>
  </property>
  <property fmtid="{D5CDD505-2E9C-101B-9397-08002B2CF9AE}" pid="19" name="KRONO_docurl">
    <vt:lpwstr> </vt:lpwstr>
  </property>
  <property fmtid="{D5CDD505-2E9C-101B-9397-08002B2CF9AE}" pid="20" name="KRONO_accessprofile">
    <vt:lpwstr> </vt:lpwstr>
  </property>
  <property fmtid="{D5CDD505-2E9C-101B-9397-08002B2CF9AE}" pid="21" name="KRONO_authoremail">
    <vt:lpwstr> </vt:lpwstr>
  </property>
  <property fmtid="{D5CDD505-2E9C-101B-9397-08002B2CF9AE}" pid="22" name="KRONO_dociid">
    <vt:lpwstr> </vt:lpwstr>
  </property>
  <property fmtid="{D5CDD505-2E9C-101B-9397-08002B2CF9AE}" pid="23" name="KRONO_project_iid">
    <vt:lpwstr> </vt:lpwstr>
  </property>
  <property fmtid="{D5CDD505-2E9C-101B-9397-08002B2CF9AE}" pid="24" name="KRONO_folder_iid">
    <vt:lpwstr> </vt:lpwstr>
  </property>
  <property fmtid="{D5CDD505-2E9C-101B-9397-08002B2CF9AE}" pid="25" name="KRONO_description">
    <vt:lpwstr> </vt:lpwstr>
  </property>
  <property fmtid="{D5CDD505-2E9C-101B-9397-08002B2CF9AE}" pid="26" name="KRONO_project">
    <vt:lpwstr> </vt:lpwstr>
  </property>
  <property fmtid="{D5CDD505-2E9C-101B-9397-08002B2CF9AE}" pid="27" name="KRONO_owner">
    <vt:lpwstr> </vt:lpwstr>
  </property>
  <property fmtid="{D5CDD505-2E9C-101B-9397-08002B2CF9AE}" pid="28" name="KRONO_creationtime">
    <vt:lpwstr> </vt:lpwstr>
  </property>
  <property fmtid="{D5CDD505-2E9C-101B-9397-08002B2CF9AE}" pid="29" name="KRONO_modificationtime">
    <vt:lpwstr> </vt:lpwstr>
  </property>
  <property fmtid="{D5CDD505-2E9C-101B-9397-08002B2CF9AE}" pid="30" name="KRONO_fullpathname">
    <vt:lpwstr> </vt:lpwstr>
  </property>
  <property fmtid="{D5CDD505-2E9C-101B-9397-08002B2CF9AE}" pid="31" name="KRONO_trueaccessprofile">
    <vt:lpwstr> </vt:lpwstr>
  </property>
</Properties>
</file>